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7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8.xml" ContentType="application/vnd.openxmlformats-officedocument.them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9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0.xml" ContentType="application/vnd.openxmlformats-officedocument.them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1.xml" ContentType="application/vnd.openxmlformats-officedocument.them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2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4.xml" ContentType="application/vnd.openxmlformats-officedocument.them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928" r:id="rId4"/>
    <p:sldMasterId id="2147483957" r:id="rId5"/>
    <p:sldMasterId id="2147484004" r:id="rId6"/>
    <p:sldMasterId id="2147484041" r:id="rId7"/>
    <p:sldMasterId id="2147484067" r:id="rId8"/>
    <p:sldMasterId id="2147484082" r:id="rId9"/>
    <p:sldMasterId id="2147484131" r:id="rId10"/>
    <p:sldMasterId id="2147484141" r:id="rId11"/>
    <p:sldMasterId id="2147484166" r:id="rId12"/>
    <p:sldMasterId id="2147484179" r:id="rId13"/>
    <p:sldMasterId id="2147484203" r:id="rId14"/>
    <p:sldMasterId id="2147484223" r:id="rId15"/>
    <p:sldMasterId id="2147484228" r:id="rId16"/>
    <p:sldMasterId id="2147484256" r:id="rId17"/>
    <p:sldMasterId id="2147484275" r:id="rId18"/>
  </p:sldMasterIdLst>
  <p:notesMasterIdLst>
    <p:notesMasterId r:id="rId30"/>
  </p:notesMasterIdLst>
  <p:handoutMasterIdLst>
    <p:handoutMasterId r:id="rId31"/>
  </p:handoutMasterIdLst>
  <p:sldIdLst>
    <p:sldId id="2147482137" r:id="rId19"/>
    <p:sldId id="2147482135" r:id="rId20"/>
    <p:sldId id="2147482175" r:id="rId21"/>
    <p:sldId id="2147482141" r:id="rId22"/>
    <p:sldId id="2147482139" r:id="rId23"/>
    <p:sldId id="2147482171" r:id="rId24"/>
    <p:sldId id="2147482159" r:id="rId25"/>
    <p:sldId id="2147482148" r:id="rId26"/>
    <p:sldId id="2147481608" r:id="rId27"/>
    <p:sldId id="2147482176" r:id="rId28"/>
    <p:sldId id="2147482151" r:id="rId29"/>
  </p:sldIdLst>
  <p:sldSz cx="12225338" cy="6858000"/>
  <p:notesSz cx="7023100" cy="9309100"/>
  <p:embeddedFontLst>
    <p:embeddedFont>
      <p:font typeface="NotesEsa" panose="02000506030000020004"/>
      <p:regular r:id="rId32"/>
    </p:embeddedFont>
    <p:embeddedFont>
      <p:font typeface="Roboto" panose="02000000000000000000" pitchFamily="2" charset="0"/>
      <p:regular r:id="rId33"/>
      <p:bold r:id="rId34"/>
      <p:italic r:id="rId35"/>
      <p:boldItalic r:id="rId36"/>
    </p:embeddedFont>
    <p:embeddedFont>
      <p:font typeface="Verdana" panose="020B0604030504040204" pitchFamily="34" charset="0"/>
      <p:regular r:id="rId37"/>
      <p:bold r:id="rId38"/>
      <p:italic r:id="rId39"/>
      <p:boldItalic r:id="rId40"/>
    </p:embeddedFont>
  </p:embeddedFont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61063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122127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8319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244254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3053182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3663818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4274454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4885091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53941B-2E25-5409-A754-3A411D348112}" name="Johann Richard" initials="JR" userId="S::Johann.Richard@esa.int::94ae6029-d30b-4086-97cd-0d2cba9949c6" providerId="AD"/>
  <p188:author id="{EC07FF2F-8777-1DBA-A44B-BFBF32A50227}" name="Wadsworth Jennifer Louise" initials="WL" userId="S::jennifer.wadsworth_psi.ch#ext#@esait.onmicrosoft.com::7cfafffd-50cd-4631-aa7a-eca26e9cfc2b" providerId="AD"/>
  <p188:author id="{5B37306A-17B7-DAA3-39CE-C74C27C78951}" name="Johann Richard" initials="JR" userId="S::johann.richard@esa.int::94ae6029-d30b-4086-97cd-0d2cba9949c6" providerId="AD"/>
  <p188:author id="{35AF2893-5787-CBB3-8F47-19DDDC411B59}" name="Wadsworth Jennifer Louise" initials="WJL" userId="S::jennifer.wadsworth@psi.ch::caf493d8-e40c-441f-a274-2ca1bb0f82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3249"/>
    <a:srgbClr val="FFC000"/>
    <a:srgbClr val="D9D9D9"/>
    <a:srgbClr val="DC005A"/>
    <a:srgbClr val="000073"/>
    <a:srgbClr val="003142"/>
    <a:srgbClr val="335E6F"/>
    <a:srgbClr val="003249"/>
    <a:srgbClr val="8197A6"/>
    <a:srgbClr val="F166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6B4A62-28FA-3640-8738-F2216D293F76}" v="1135" dt="2026-01-13T08:16:49.973"/>
    <p1510:client id="{77419961-B4D7-63DC-178B-1AFCC15DB5E2}" v="1" dt="2026-01-13T07:41:25.853"/>
    <p1510:client id="{E9FB7E7B-A5EC-AD46-8898-0A4415EBB0D4}" v="237" dt="2026-01-12T13:14:02.6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4"/>
    <p:restoredTop sz="83689"/>
  </p:normalViewPr>
  <p:slideViewPr>
    <p:cSldViewPr snapToGrid="0">
      <p:cViewPr varScale="1">
        <p:scale>
          <a:sx n="94" d="100"/>
          <a:sy n="94" d="100"/>
        </p:scale>
        <p:origin x="1160" y="184"/>
      </p:cViewPr>
      <p:guideLst>
        <p:guide orient="horz" pos="2160"/>
        <p:guide pos="385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font" Target="fonts/font8.fntdata"/><Relationship Id="rId21" Type="http://schemas.openxmlformats.org/officeDocument/2006/relationships/slide" Target="slides/slide3.xml"/><Relationship Id="rId34" Type="http://schemas.openxmlformats.org/officeDocument/2006/relationships/font" Target="fonts/font3.fntdata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font" Target="fonts/font5.fntdata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handoutMaster" Target="handoutMasters/handoutMaster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microsoft.com/office/2018/10/relationships/authors" Target="authors.xml"/><Relationship Id="rId20" Type="http://schemas.openxmlformats.org/officeDocument/2006/relationships/slide" Target="slides/slide2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CH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IT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IT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IT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IT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IT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IT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CH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CH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CH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1st entr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1st category</c:v>
                </c:pt>
                <c:pt idx="1">
                  <c:v>2nd category</c:v>
                </c:pt>
                <c:pt idx="2">
                  <c:v>3rd category</c:v>
                </c:pt>
                <c:pt idx="3">
                  <c:v>4th category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D8-2249-BCE7-E168F6FA1CD1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2nd entry</c:v>
                </c:pt>
              </c:strCache>
            </c:strRef>
          </c:tx>
          <c:spPr>
            <a:solidFill>
              <a:srgbClr val="ED1B2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1st category</c:v>
                </c:pt>
                <c:pt idx="1">
                  <c:v>2nd category</c:v>
                </c:pt>
                <c:pt idx="2">
                  <c:v>3rd category</c:v>
                </c:pt>
                <c:pt idx="3">
                  <c:v>4th category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D8-2249-BCE7-E168F6FA1CD1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3rd entr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1st category</c:v>
                </c:pt>
                <c:pt idx="1">
                  <c:v>2nd category</c:v>
                </c:pt>
                <c:pt idx="2">
                  <c:v>3rd category</c:v>
                </c:pt>
                <c:pt idx="3">
                  <c:v>4th category</c:v>
                </c:pt>
              </c:strCache>
            </c:strRef>
          </c:cat>
          <c:val>
            <c:numRef>
              <c:f>Foglio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D8-2249-BCE7-E168F6FA1C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9538255"/>
        <c:axId val="1407145488"/>
      </c:barChart>
      <c:catAx>
        <c:axId val="1399538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8196A7">
                <a:alpha val="5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NotesEsa" panose="02000506030000020004" pitchFamily="2" charset="77"/>
                <a:ea typeface="+mn-ea"/>
                <a:cs typeface="+mn-cs"/>
              </a:defRPr>
            </a:pPr>
            <a:endParaRPr lang="en-CH"/>
          </a:p>
        </c:txPr>
        <c:crossAx val="1407145488"/>
        <c:crosses val="autoZero"/>
        <c:auto val="1"/>
        <c:lblAlgn val="ctr"/>
        <c:lblOffset val="100"/>
        <c:noMultiLvlLbl val="0"/>
      </c:catAx>
      <c:valAx>
        <c:axId val="140714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399538255"/>
        <c:crosses val="autoZero"/>
        <c:crossBetween val="between"/>
      </c:valAx>
      <c:spPr>
        <a:noFill/>
        <a:ln>
          <a:solidFill>
            <a:srgbClr val="8196A7">
              <a:alpha val="50000"/>
            </a:srgbClr>
          </a:solidFill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NotesEsa" panose="02000506030000020004" pitchFamily="2" charset="77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9807993193544"/>
          <c:y val="0.13140608882720306"/>
          <c:w val="0.65140384013612918"/>
          <c:h val="0.73718782234559399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2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508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CF79-C042-86D4-FA74520E085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508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F79-C042-86D4-FA74520E085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508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F79-C042-86D4-FA74520E085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508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F79-C042-86D4-FA74520E0858}"/>
              </c:ext>
            </c:extLst>
          </c:dPt>
          <c:dLbls>
            <c:dLbl>
              <c:idx val="0"/>
              <c:layout>
                <c:manualLayout>
                  <c:x val="0.15944750307435485"/>
                  <c:y val="0.1800360724478992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F79-C042-86D4-FA74520E0858}"/>
                </c:ext>
              </c:extLst>
            </c:dLbl>
            <c:dLbl>
              <c:idx val="1"/>
              <c:layout>
                <c:manualLayout>
                  <c:x val="-0.14622330557363156"/>
                  <c:y val="8.515046776695343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F79-C042-86D4-FA74520E0858}"/>
                </c:ext>
              </c:extLst>
            </c:dLbl>
            <c:dLbl>
              <c:idx val="2"/>
              <c:layout>
                <c:manualLayout>
                  <c:x val="-0.20742366573736851"/>
                  <c:y val="-0.1011236799155596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F79-C042-86D4-FA74520E0858}"/>
                </c:ext>
              </c:extLst>
            </c:dLbl>
            <c:dLbl>
              <c:idx val="3"/>
              <c:layout>
                <c:manualLayout>
                  <c:x val="-0.16962251587609936"/>
                  <c:y val="-0.1489181082811998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79-C042-86D4-FA74520E08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bg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79-C042-86D4-FA74520E085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5623861577583"/>
          <c:y val="0.25066678519698254"/>
          <c:w val="0.58408769687243078"/>
          <c:h val="0.70008449458610689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2</c:v>
                </c:pt>
              </c:strCache>
            </c:strRef>
          </c:tx>
          <c:spPr>
            <a:ln w="508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1F-2040-983B-3976972CCEE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1F-2040-983B-3976972CCEE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1F-2040-983B-3976972CCEE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1F-2040-983B-3976972CCEE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41F-2040-983B-3976972CCEE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341F-2040-983B-3976972CCEE0}"/>
              </c:ext>
            </c:extLst>
          </c:dPt>
          <c:dPt>
            <c:idx val="6"/>
            <c:bubble3D val="0"/>
            <c:spPr>
              <a:solidFill>
                <a:schemeClr val="tx1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41F-2040-983B-3976972CCEE0}"/>
              </c:ext>
            </c:extLst>
          </c:dPt>
          <c:dLbls>
            <c:dLbl>
              <c:idx val="0"/>
              <c:layout>
                <c:manualLayout>
                  <c:x val="-0.18769836972512813"/>
                  <c:y val="0.1058294169289254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1F-2040-983B-3976972CCEE0}"/>
                </c:ext>
              </c:extLst>
            </c:dLbl>
            <c:dLbl>
              <c:idx val="1"/>
              <c:layout>
                <c:manualLayout>
                  <c:x val="-0.2059235746194"/>
                  <c:y val="0.1249040332235466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1F-2040-983B-3976972CCEE0}"/>
                </c:ext>
              </c:extLst>
            </c:dLbl>
            <c:dLbl>
              <c:idx val="2"/>
              <c:layout>
                <c:manualLayout>
                  <c:x val="-0.29144623651608181"/>
                  <c:y val="1.283654106000743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1F-2040-983B-3976972CCEE0}"/>
                </c:ext>
              </c:extLst>
            </c:dLbl>
            <c:dLbl>
              <c:idx val="3"/>
              <c:layout>
                <c:manualLayout>
                  <c:x val="-0.21384495761786754"/>
                  <c:y val="-0.10121382973328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41F-2040-983B-3976972CCEE0}"/>
                </c:ext>
              </c:extLst>
            </c:dLbl>
            <c:dLbl>
              <c:idx val="4"/>
              <c:layout>
                <c:manualLayout>
                  <c:x val="0.22553429900687605"/>
                  <c:y val="-0.1113099832784609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41F-2040-983B-3976972CCEE0}"/>
                </c:ext>
              </c:extLst>
            </c:dLbl>
            <c:dLbl>
              <c:idx val="5"/>
              <c:layout>
                <c:manualLayout>
                  <c:x val="0.19015636975089567"/>
                  <c:y val="-4.505404085080559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41F-2040-983B-3976972CCEE0}"/>
                </c:ext>
              </c:extLst>
            </c:dLbl>
            <c:dLbl>
              <c:idx val="6"/>
              <c:layout>
                <c:manualLayout>
                  <c:x val="0.15920068165191251"/>
                  <c:y val="0.1272114094610981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41F-2040-983B-3976972CCE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5">
                      <a:lumMod val="60000"/>
                      <a:lumOff val="40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8</c:f>
              <c:strCache>
                <c:ptCount val="7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</c:strCache>
            </c:strRef>
          </c:cat>
          <c:val>
            <c:numRef>
              <c:f>Foglio1!$B$2:$B$8</c:f>
              <c:numCache>
                <c:formatCode>General</c:formatCode>
                <c:ptCount val="7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2.2000000000000002</c:v>
                </c:pt>
                <c:pt idx="5">
                  <c:v>3.2</c:v>
                </c:pt>
                <c:pt idx="6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41F-2040-983B-3976972CCEE0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148"/>
        <c:holeSize val="5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5623861577583"/>
          <c:y val="0.25066678519698254"/>
          <c:w val="0.58408769687243078"/>
          <c:h val="0.70008449458610689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2</c:v>
                </c:pt>
              </c:strCache>
            </c:strRef>
          </c:tx>
          <c:spPr>
            <a:ln w="508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1B1-6143-8991-6309CE9C7D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1B1-6143-8991-6309CE9C7D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1B1-6143-8991-6309CE9C7D8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508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1B1-6143-8991-6309CE9C7D8F}"/>
              </c:ext>
            </c:extLst>
          </c:dPt>
          <c:dLbls>
            <c:dLbl>
              <c:idx val="0"/>
              <c:layout>
                <c:manualLayout>
                  <c:x val="0.15944750307435485"/>
                  <c:y val="0.1800360724478992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B1-6143-8991-6309CE9C7D8F}"/>
                </c:ext>
              </c:extLst>
            </c:dLbl>
            <c:dLbl>
              <c:idx val="1"/>
              <c:layout>
                <c:manualLayout>
                  <c:x val="-0.14622330557363156"/>
                  <c:y val="8.515046776695343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1B1-6143-8991-6309CE9C7D8F}"/>
                </c:ext>
              </c:extLst>
            </c:dLbl>
            <c:dLbl>
              <c:idx val="2"/>
              <c:layout>
                <c:manualLayout>
                  <c:x val="-0.21405701626862433"/>
                  <c:y val="-3.221749979079821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1B1-6143-8991-6309CE9C7D8F}"/>
                </c:ext>
              </c:extLst>
            </c:dLbl>
            <c:dLbl>
              <c:idx val="3"/>
              <c:layout>
                <c:manualLayout>
                  <c:x val="-0.21384495761786754"/>
                  <c:y val="-0.1303664444014563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1B1-6143-8991-6309CE9C7D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NotesEsa" panose="02000506030000020004" pitchFamily="2" charset="77"/>
                    <a:ea typeface="+mn-ea"/>
                    <a:cs typeface="+mn-cs"/>
                  </a:defRPr>
                </a:pPr>
                <a:endParaRPr lang="en-CH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5">
                      <a:lumMod val="60000"/>
                      <a:lumOff val="40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st 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5.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B1-6143-8991-6309CE9C7D8F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CH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t" anchorCtr="0" compatLnSpc="1">
            <a:prstTxWarp prst="textNoShape">
              <a:avLst/>
            </a:prstTxWarp>
          </a:bodyPr>
          <a:lstStyle>
            <a:lvl1pPr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8275" y="0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t" anchorCtr="0" compatLnSpc="1">
            <a:prstTxWarp prst="textNoShape">
              <a:avLst/>
            </a:prstTxWarp>
          </a:bodyPr>
          <a:lstStyle>
            <a:lvl1pPr algn="r"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2375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b" anchorCtr="0" compatLnSpc="1">
            <a:prstTxWarp prst="textNoShape">
              <a:avLst/>
            </a:prstTxWarp>
          </a:bodyPr>
          <a:lstStyle>
            <a:lvl1pPr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8275" y="8842375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b" anchorCtr="0" compatLnSpc="1">
            <a:prstTxWarp prst="textNoShape">
              <a:avLst/>
            </a:prstTxWarp>
          </a:bodyPr>
          <a:lstStyle>
            <a:lvl1pPr algn="r"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fld id="{A5B780D0-5C7F-422C-931C-25201BE1936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045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466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>
            <a:lvl1pPr defTabSz="862013">
              <a:defRPr sz="1100" b="0" i="0" smtClean="0">
                <a:latin typeface="NotesEsa" panose="02000506030000020004" pitchFamily="2" charset="77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5738" y="0"/>
            <a:ext cx="301466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>
            <a:lvl1pPr algn="r" defTabSz="862013">
              <a:defRPr sz="1100" b="0" i="0" smtClean="0">
                <a:latin typeface="NotesEsa" panose="02000506030000020004" pitchFamily="2" charset="77"/>
              </a:defRPr>
            </a:lvl1pPr>
          </a:lstStyle>
          <a:p>
            <a:pPr>
              <a:defRPr/>
            </a:pPr>
            <a:fld id="{A6888345-B3D3-4351-A7A9-F936F5935E41}" type="datetimeFigureOut">
              <a:rPr lang="en-US" smtClean="0"/>
              <a:pPr>
                <a:defRPr/>
              </a:pPr>
              <a:t>1/19/26</a:t>
            </a:fld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693738"/>
            <a:ext cx="6176963" cy="3465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435475"/>
            <a:ext cx="5200650" cy="415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83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70950"/>
            <a:ext cx="3014663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b" anchorCtr="0" compatLnSpc="1">
            <a:prstTxWarp prst="textNoShape">
              <a:avLst/>
            </a:prstTxWarp>
          </a:bodyPr>
          <a:lstStyle>
            <a:lvl1pPr defTabSz="862013">
              <a:defRPr sz="1100" b="0" i="0" smtClean="0">
                <a:latin typeface="NotesEsa" panose="02000506030000020004" pitchFamily="2" charset="77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83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5738" y="8870950"/>
            <a:ext cx="301466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b" anchorCtr="0" compatLnSpc="1">
            <a:prstTxWarp prst="textNoShape">
              <a:avLst/>
            </a:prstTxWarp>
          </a:bodyPr>
          <a:lstStyle>
            <a:lvl1pPr algn="r" defTabSz="862013">
              <a:defRPr sz="1100" b="0" i="0" smtClean="0">
                <a:latin typeface="NotesEsa" panose="02000506030000020004" pitchFamily="2" charset="77"/>
              </a:defRPr>
            </a:lvl1pPr>
          </a:lstStyle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0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610636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1221273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831909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2442545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3053182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6pPr>
    <a:lvl7pPr marL="3663818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7pPr>
    <a:lvl8pPr marL="4274454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8pPr>
    <a:lvl9pPr marL="4885091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o has interacted with or is familiar with </a:t>
            </a:r>
            <a:r>
              <a:rPr lang="en-GB" dirty="0" err="1"/>
              <a:t>esdi</a:t>
            </a:r>
            <a:r>
              <a:rPr lang="en-GB" dirty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75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90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A08384-3635-4A83-55DC-CA6511E73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9A6652-39B5-4579-D833-7C4FE4057A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C95966-EB50-8F42-357E-B50132BDA0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C44FE2-D19F-C240-CFFB-55BC5E3097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616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o has heard of ESDI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612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77ED0-9778-322D-5AAA-AF3F25AFC0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C0458B-3D6A-77FD-EF64-E2FB152A20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BCAF2C-E34D-1ECF-06B9-F9CBFF5D6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BAB18"/>
              </a:buClr>
              <a:buSzTx/>
              <a:buFont typeface="Verdana" charset="0"/>
              <a:buNone/>
              <a:tabLst/>
              <a:defRPr/>
            </a:pPr>
            <a:r>
              <a:rPr kumimoji="0" lang="en-GB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A PHI</a:t>
            </a:r>
            <a:r>
              <a:rPr kumimoji="0" lang="el-G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</a:t>
            </a: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 NE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BAB18"/>
              </a:buClr>
              <a:buSzTx/>
              <a:buFont typeface="Verdana" charset="0"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ridging the Gap between Groundbreaking R&amp;D and </a:t>
            </a:r>
            <a:r>
              <a:rPr kumimoji="0" lang="en-US" alt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mercialisation</a:t>
            </a: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BAB18"/>
              </a:buClr>
              <a:buSzTx/>
              <a:buFont typeface="Verdana" charset="0"/>
              <a:buNone/>
              <a:tabLst/>
              <a:defRPr/>
            </a:pPr>
            <a:endParaRPr kumimoji="0" lang="en-US" altLang="en-US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5F090E-0DC4-1C53-182C-0AE0B21D3B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599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0" i="0">
                <a:effectLst/>
                <a:latin typeface="NotesEsa"/>
              </a:rPr>
              <a:t>Concretely, what are will trying to do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0" i="0">
                <a:effectLst/>
                <a:latin typeface="NotesEsa"/>
              </a:rPr>
              <a:t>…</a:t>
            </a:r>
          </a:p>
          <a:p>
            <a:r>
              <a:rPr lang="en-GB" sz="1600">
                <a:latin typeface="Calibri"/>
                <a:ea typeface="Calibri"/>
                <a:cs typeface="Calibri"/>
              </a:rPr>
              <a:t>At opening tasked with not just N prizes, but </a:t>
            </a:r>
            <a:r>
              <a:rPr lang="en-GB" sz="1600" err="1">
                <a:latin typeface="Calibri"/>
                <a:ea typeface="Calibri"/>
                <a:cs typeface="Calibri"/>
              </a:rPr>
              <a:t>nobel</a:t>
            </a:r>
            <a:r>
              <a:rPr lang="en-GB" sz="1600">
                <a:latin typeface="Calibri"/>
                <a:ea typeface="Calibri"/>
                <a:cs typeface="Calibri"/>
              </a:rPr>
              <a:t> prize winning unicorns</a:t>
            </a:r>
          </a:p>
          <a:p>
            <a:r>
              <a:rPr lang="en-GB" sz="1600">
                <a:latin typeface="Calibri"/>
                <a:ea typeface="Calibri"/>
                <a:cs typeface="Calibri"/>
              </a:rPr>
              <a:t>This, in a nutshell, represents our ambition</a:t>
            </a:r>
            <a:endParaRPr lang="en-GB" sz="160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117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  <a:t>Deep tech?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  <a:t>…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  <a:t>IN OTHER WORDS:</a:t>
            </a:r>
            <a:b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</a:br>
            <a:r>
              <a:rPr lang="en-GB" sz="1600" b="1">
                <a:solidFill>
                  <a:schemeClr val="bg1"/>
                </a:solidFill>
                <a:latin typeface="NotesEsa" panose="02000506030000020004" pitchFamily="2" charset="77"/>
              </a:rPr>
              <a:t>DEEP-TECH IS INHERENTLY </a:t>
            </a:r>
            <a:r>
              <a:rPr lang="en-GB" sz="1600" b="1">
                <a:solidFill>
                  <a:schemeClr val="accent3"/>
                </a:solidFill>
                <a:latin typeface="NotesEsa" panose="02000506030000020004" pitchFamily="2" charset="77"/>
              </a:rPr>
              <a:t>CHALLENGING, COSTLY, AND RISKY </a:t>
            </a:r>
            <a:r>
              <a:rPr lang="en-GB" sz="1600" b="1">
                <a:solidFill>
                  <a:schemeClr val="bg1"/>
                </a:solidFill>
                <a:latin typeface="NotesEsa" panose="02000506030000020004" pitchFamily="2" charset="77"/>
              </a:rPr>
              <a:t>– </a:t>
            </a:r>
            <a:r>
              <a:rPr lang="en-GB" sz="1600" b="1">
                <a:solidFill>
                  <a:schemeClr val="accent3"/>
                </a:solidFill>
                <a:latin typeface="NotesEsa" panose="02000506030000020004" pitchFamily="2" charset="77"/>
              </a:rPr>
              <a:t>AND</a:t>
            </a:r>
            <a:r>
              <a:rPr lang="en-GB" sz="1600" b="1">
                <a:solidFill>
                  <a:schemeClr val="bg1"/>
                </a:solidFill>
                <a:latin typeface="NotesEsa" panose="02000506030000020004" pitchFamily="2" charset="77"/>
              </a:rPr>
              <a:t> IT IS </a:t>
            </a:r>
            <a:r>
              <a:rPr lang="en-GB" sz="1600" b="1">
                <a:solidFill>
                  <a:schemeClr val="accent3"/>
                </a:solidFill>
                <a:latin typeface="NotesEsa" panose="02000506030000020004" pitchFamily="2" charset="77"/>
              </a:rPr>
              <a:t>TRANSFORMATIVE</a:t>
            </a:r>
            <a:r>
              <a:rPr lang="en-GB" sz="1600" b="1">
                <a:solidFill>
                  <a:schemeClr val="bg1"/>
                </a:solidFill>
                <a:latin typeface="NotesEsa" panose="02000506030000020004" pitchFamily="2" charset="77"/>
              </a:rPr>
              <a:t>,</a:t>
            </a:r>
            <a:r>
              <a:rPr lang="en-GB" sz="1600" b="1">
                <a:solidFill>
                  <a:schemeClr val="accent4"/>
                </a:solidFill>
                <a:latin typeface="NotesEsa" panose="02000506030000020004" pitchFamily="2" charset="77"/>
              </a:rPr>
              <a:t> </a:t>
            </a:r>
            <a: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  <a:t>ESPECIALLY FOR SPAC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chemeClr val="accent5"/>
                </a:solidFill>
                <a:latin typeface="NotesEsa" panose="02000506030000020004" pitchFamily="2" charset="77"/>
              </a:rPr>
              <a:t>This is exactly what ESDI and the Phi-Lab is interested in. Sub-topics of Q, materials, data science</a:t>
            </a:r>
            <a:endParaRPr lang="en-GB" sz="1600">
              <a:solidFill>
                <a:schemeClr val="accent5"/>
              </a:solidFill>
              <a:latin typeface="NotesEsa" panose="02000506030000020004" pitchFamily="2" charset="77"/>
            </a:endParaRPr>
          </a:p>
          <a:p>
            <a:endParaRPr lang="en-GB" b="0" i="0">
              <a:effectLst/>
              <a:latin typeface="NotesEsa" panose="02000506030000020004" pitchFamily="2" charset="77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2373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C223D-BFD8-FB11-F227-D1EAB83A9F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84A3B0-88AF-E053-EEF0-2174EFC1D4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71AC47-38BF-C5A0-22D2-5F002D0059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i-Lab’s areas (aside from thematic areas) :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erging scientific/technical fields at inflection points that offer novel solutions to critical problems in the space domain (and Earth).</a:t>
            </a:r>
          </a:p>
          <a:p>
            <a:endParaRPr lang="en-GB" dirty="0"/>
          </a:p>
          <a:p>
            <a:r>
              <a:rPr lang="en-GB" dirty="0"/>
              <a:t>Challenge: “use-inspired”</a:t>
            </a:r>
          </a:p>
          <a:p>
            <a:r>
              <a:rPr lang="en-GB" dirty="0"/>
              <a:t>Academics to think more on applications, users, commercialisation</a:t>
            </a:r>
          </a:p>
          <a:p>
            <a:r>
              <a:rPr lang="en-GB" dirty="0"/>
              <a:t>Industry to think more about more abstract, fundamental research aspects, not pure-application</a:t>
            </a:r>
          </a:p>
          <a:p>
            <a:r>
              <a:rPr lang="en-GB" dirty="0"/>
              <a:t>Pasteur’s sweet spot is what we’re aiming for in Phi-Lab programs</a:t>
            </a:r>
          </a:p>
          <a:p>
            <a:endParaRPr lang="en-GB" dirty="0"/>
          </a:p>
          <a:p>
            <a:r>
              <a:rPr lang="en-GB" dirty="0"/>
              <a:t>top-down &amp; bottom-up approach, </a:t>
            </a:r>
            <a:r>
              <a:rPr lang="en-GB" dirty="0" err="1"/>
              <a:t>neglectedness</a:t>
            </a:r>
            <a:r>
              <a:rPr lang="en-GB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1F9D23-03C1-F202-F2E7-2E850CCA95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730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ample: First call total budget 3.5mCHF (</a:t>
            </a:r>
            <a:r>
              <a:rPr lang="en-GB" b="1" dirty="0"/>
              <a:t>not</a:t>
            </a:r>
            <a:r>
              <a:rPr lang="en-GB" dirty="0"/>
              <a:t> </a:t>
            </a:r>
            <a:r>
              <a:rPr lang="en-GB" dirty="0" err="1"/>
              <a:t>incl</a:t>
            </a:r>
            <a:r>
              <a:rPr lang="en-GB" dirty="0"/>
              <a:t> matched funds from participating orgs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73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Includes funding for participating industry</a:t>
            </a:r>
          </a:p>
          <a:p>
            <a:endParaRPr lang="en-GB" dirty="0"/>
          </a:p>
          <a:p>
            <a:r>
              <a:rPr lang="it-IT" altLang="en-US" sz="1600" kern="0" dirty="0" err="1">
                <a:latin typeface="NotesEsa" panose="02000506030000020004" pitchFamily="2" charset="77"/>
                <a:cs typeface="Calibri" panose="020F0502020204030204" pitchFamily="34" charset="0"/>
              </a:rPr>
              <a:t>Expected</a:t>
            </a:r>
            <a:r>
              <a:rPr lang="it-IT" altLang="en-US" sz="1600" kern="0" dirty="0">
                <a:latin typeface="NotesEsa" panose="02000506030000020004" pitchFamily="2" charset="77"/>
                <a:cs typeface="Calibri" panose="020F0502020204030204" pitchFamily="34" charset="0"/>
              </a:rPr>
              <a:t> funding per project: </a:t>
            </a:r>
            <a:r>
              <a:rPr lang="it-IT" altLang="en-US" sz="1600" b="1" kern="0" dirty="0">
                <a:latin typeface="NotesEsa" panose="02000506030000020004" pitchFamily="2" charset="77"/>
                <a:cs typeface="Calibri" panose="020F0502020204030204" pitchFamily="34" charset="0"/>
              </a:rPr>
              <a:t>600k-750k, </a:t>
            </a:r>
            <a:r>
              <a:rPr lang="it-IT" altLang="en-US" sz="1600" b="1" kern="0" dirty="0" err="1">
                <a:latin typeface="NotesEsa" panose="02000506030000020004" pitchFamily="2" charset="77"/>
                <a:cs typeface="Calibri" panose="020F0502020204030204" pitchFamily="34" charset="0"/>
              </a:rPr>
              <a:t>was</a:t>
            </a:r>
            <a:r>
              <a:rPr lang="it-IT" altLang="en-US" sz="1600" b="1" kern="0" dirty="0">
                <a:latin typeface="NotesEsa" panose="02000506030000020004" pitchFamily="2" charset="77"/>
                <a:cs typeface="Calibri" panose="020F0502020204030204" pitchFamily="34" charset="0"/>
              </a:rPr>
              <a:t> case for </a:t>
            </a:r>
            <a:r>
              <a:rPr lang="it-IT" altLang="en-US" sz="1600" b="1" kern="0" dirty="0" err="1">
                <a:latin typeface="NotesEsa" panose="02000506030000020004" pitchFamily="2" charset="77"/>
                <a:cs typeface="Calibri" panose="020F0502020204030204" pitchFamily="34" charset="0"/>
              </a:rPr>
              <a:t>Q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522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600" b="0" i="0" u="none" strike="noStrike" kern="1200" dirty="0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Quantum sensors can detect minute changes in gravity, magnetic fields, and time, and other quantities with atomic precision,</a:t>
            </a:r>
          </a:p>
          <a:p>
            <a:r>
              <a:rPr lang="en-GB" sz="1600" b="0" i="0" u="none" strike="noStrike" kern="1200" dirty="0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Yet demand sophisticated infrastructure: typically room-sized </a:t>
            </a:r>
            <a:r>
              <a:rPr lang="en-GB" sz="1600" b="0" i="0" u="none" strike="noStrike" kern="1200" dirty="0" err="1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setups,complex</a:t>
            </a:r>
            <a:r>
              <a:rPr lang="en-GB" sz="1600" b="0" i="0" u="none" strike="noStrike" kern="1200" dirty="0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 electronics, and constant expert oversight. </a:t>
            </a:r>
          </a:p>
          <a:p>
            <a:endParaRPr lang="en-GB" sz="1600" b="0" i="0" u="none" strike="noStrike" kern="1200" dirty="0">
              <a:solidFill>
                <a:schemeClr val="tx1"/>
              </a:solidFill>
              <a:effectLst/>
              <a:latin typeface="Calibri"/>
              <a:ea typeface="Calibri"/>
              <a:cs typeface="Calibri"/>
            </a:endParaRPr>
          </a:p>
          <a:p>
            <a:r>
              <a:rPr lang="en-GB" sz="1600" b="0" i="0" u="none" strike="noStrike" kern="1200" dirty="0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high cost and operational complexity create significant barriers to commercial adoption, despite their transformative potential across industries</a:t>
            </a:r>
          </a:p>
          <a:p>
            <a:endParaRPr lang="en-GB" sz="1600" b="0" i="0" u="none" strike="noStrike" kern="1200" dirty="0">
              <a:solidFill>
                <a:schemeClr val="tx1"/>
              </a:solidFill>
              <a:effectLst/>
              <a:latin typeface="Calibri"/>
              <a:ea typeface="Calibri"/>
              <a:cs typeface="Calibri"/>
            </a:endParaRPr>
          </a:p>
          <a:p>
            <a:r>
              <a:rPr lang="en-GB" sz="1600" b="0" i="0" u="none" strike="noStrike" kern="1200" dirty="0">
                <a:solidFill>
                  <a:schemeClr val="tx1"/>
                </a:solidFill>
                <a:effectLst/>
                <a:latin typeface="Calibri"/>
                <a:ea typeface="Calibri"/>
                <a:cs typeface="Calibri"/>
              </a:rPr>
              <a:t>10x improvement The harsh space environment serves as an ideal testbed for space and earth application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1527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DF35E4-61C1-1CE7-59B9-057139E42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357AFF-B722-768D-FDD7-8342744FCF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4025" y="693738"/>
            <a:ext cx="6176963" cy="3465512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653339-842E-352B-47F5-C11048C40B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In the last years, many advances have happened for AM (e.g. Additively manufactured superconductor, complex multi-material and 4D printed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structures..etc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). Now the next step is to demonstrate new technologies in AM under extreme conditions, and make sure, a path to commercialization is viable! </a:t>
            </a:r>
            <a:r>
              <a:rPr lang="en-GB" sz="1600" noProof="0">
                <a:solidFill>
                  <a:schemeClr val="bg1"/>
                </a:solidFill>
                <a:latin typeface="Aptos" panose="020B0004020202020204" pitchFamily="34" charset="0"/>
              </a:rPr>
              <a:t>From brackets to adaptive skins, re-entry panels, and self-healing components that thrive under extremes. The goal is a step change: next-generation AM that redefines what can be built for space and terrestrial u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ptos"/>
              <a:ea typeface="Aptos" panose="020B0004020202020204" pitchFamily="34" charset="0"/>
              <a:cs typeface="Times New Roman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324D27-3E36-2E36-341F-C4138B78DD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2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DF57D7-2670-4E78-96DD-D9B22805124F}" type="slidenum">
              <a:rPr kumimoji="0" lang="en-US" sz="110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862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10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010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9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39.sv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39.sv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39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40.svg"/><Relationship Id="rId5" Type="http://schemas.openxmlformats.org/officeDocument/2006/relationships/image" Target="../media/image38.png"/><Relationship Id="rId4" Type="http://schemas.openxmlformats.org/officeDocument/2006/relationships/image" Target="../media/image2.pn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40.svg"/><Relationship Id="rId5" Type="http://schemas.openxmlformats.org/officeDocument/2006/relationships/image" Target="../media/image38.png"/><Relationship Id="rId4" Type="http://schemas.openxmlformats.org/officeDocument/2006/relationships/image" Target="../media/image2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40.svg"/><Relationship Id="rId5" Type="http://schemas.openxmlformats.org/officeDocument/2006/relationships/image" Target="../media/image38.png"/><Relationship Id="rId4" Type="http://schemas.openxmlformats.org/officeDocument/2006/relationships/image" Target="../media/image2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40.svg"/><Relationship Id="rId5" Type="http://schemas.openxmlformats.org/officeDocument/2006/relationships/image" Target="../media/image38.png"/><Relationship Id="rId4" Type="http://schemas.openxmlformats.org/officeDocument/2006/relationships/image" Target="../media/image2.pn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8.emf"/><Relationship Id="rId4" Type="http://schemas.openxmlformats.org/officeDocument/2006/relationships/tags" Target="../tags/tag25.xml"/><Relationship Id="rId9" Type="http://schemas.openxmlformats.org/officeDocument/2006/relationships/oleObject" Target="../embeddings/oleObject1.bin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8.emf"/><Relationship Id="rId4" Type="http://schemas.openxmlformats.org/officeDocument/2006/relationships/tags" Target="../tags/tag32.xml"/><Relationship Id="rId9" Type="http://schemas.openxmlformats.org/officeDocument/2006/relationships/oleObject" Target="../embeddings/oleObject1.bin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image" Target="../media/image18.emf"/><Relationship Id="rId4" Type="http://schemas.openxmlformats.org/officeDocument/2006/relationships/tags" Target="../tags/tag39.xml"/><Relationship Id="rId9" Type="http://schemas.openxmlformats.org/officeDocument/2006/relationships/oleObject" Target="../embeddings/oleObject1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8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18.emf"/><Relationship Id="rId4" Type="http://schemas.openxmlformats.org/officeDocument/2006/relationships/tags" Target="../tags/tag11.xml"/><Relationship Id="rId9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8.emf"/><Relationship Id="rId4" Type="http://schemas.openxmlformats.org/officeDocument/2006/relationships/tags" Target="../tags/tag18.xml"/><Relationship Id="rId9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7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7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png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png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chart" Target="../charts/chart4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chart" Target="../charts/chart5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4.xml"/><Relationship Id="rId5" Type="http://schemas.openxmlformats.org/officeDocument/2006/relationships/chart" Target="../charts/chart7.xml"/><Relationship Id="rId4" Type="http://schemas.openxmlformats.org/officeDocument/2006/relationships/image" Target="../media/image14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0" y="-1"/>
            <a:ext cx="12225338" cy="6858001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4" y="3421831"/>
            <a:ext cx="10625007" cy="567399"/>
          </a:xfrm>
          <a:prstGeom prst="rect">
            <a:avLst/>
          </a:prstGeom>
        </p:spPr>
        <p:txBody>
          <a:bodyPr/>
          <a:lstStyle>
            <a:lvl1pPr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4" y="6458445"/>
            <a:ext cx="9956800" cy="40513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080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24790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97011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59" y="1673225"/>
            <a:ext cx="5804673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8711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98121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6762"/>
                </a:solidFill>
              </a:defRPr>
            </a:lvl1pPr>
            <a:lvl2pPr>
              <a:defRPr sz="1800">
                <a:solidFill>
                  <a:srgbClr val="006762"/>
                </a:solidFill>
              </a:defRPr>
            </a:lvl2pPr>
            <a:lvl3pPr>
              <a:defRPr sz="1800">
                <a:solidFill>
                  <a:srgbClr val="006762"/>
                </a:solidFill>
              </a:defRPr>
            </a:lvl3pPr>
            <a:lvl4pPr>
              <a:defRPr sz="1800">
                <a:solidFill>
                  <a:srgbClr val="006762"/>
                </a:solidFill>
              </a:defRPr>
            </a:lvl4pPr>
            <a:lvl5pPr>
              <a:defRPr sz="1800">
                <a:solidFill>
                  <a:srgbClr val="006762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9027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960136"/>
                </a:solidFill>
              </a:defRPr>
            </a:lvl1pPr>
            <a:lvl2pPr>
              <a:defRPr sz="1800">
                <a:solidFill>
                  <a:srgbClr val="960136"/>
                </a:solidFill>
              </a:defRPr>
            </a:lvl2pPr>
            <a:lvl3pPr>
              <a:defRPr sz="1800">
                <a:solidFill>
                  <a:srgbClr val="960136"/>
                </a:solidFill>
              </a:defRPr>
            </a:lvl3pPr>
            <a:lvl4pPr>
              <a:defRPr sz="1800">
                <a:solidFill>
                  <a:srgbClr val="960136"/>
                </a:solidFill>
              </a:defRPr>
            </a:lvl4pPr>
            <a:lvl5pPr>
              <a:defRPr sz="1800">
                <a:solidFill>
                  <a:srgbClr val="960136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8670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A75534"/>
                </a:solidFill>
              </a:defRPr>
            </a:lvl1pPr>
            <a:lvl2pPr>
              <a:defRPr sz="1800">
                <a:solidFill>
                  <a:srgbClr val="A75534"/>
                </a:solidFill>
              </a:defRPr>
            </a:lvl2pPr>
            <a:lvl3pPr>
              <a:defRPr sz="1800">
                <a:solidFill>
                  <a:srgbClr val="A75534"/>
                </a:solidFill>
              </a:defRPr>
            </a:lvl3pPr>
            <a:lvl4pPr>
              <a:defRPr sz="1800">
                <a:solidFill>
                  <a:srgbClr val="A75534"/>
                </a:solidFill>
              </a:defRPr>
            </a:lvl4pPr>
            <a:lvl5pPr>
              <a:defRPr sz="1800">
                <a:solidFill>
                  <a:srgbClr val="A75534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0900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1E3378"/>
                </a:solidFill>
              </a:defRPr>
            </a:lvl1pPr>
            <a:lvl2pPr>
              <a:defRPr sz="1800">
                <a:solidFill>
                  <a:srgbClr val="1E3378"/>
                </a:solidFill>
              </a:defRPr>
            </a:lvl2pPr>
            <a:lvl3pPr>
              <a:defRPr sz="1800">
                <a:solidFill>
                  <a:srgbClr val="1E3378"/>
                </a:solidFill>
              </a:defRPr>
            </a:lvl3pPr>
            <a:lvl4pPr>
              <a:defRPr sz="1800">
                <a:solidFill>
                  <a:srgbClr val="1E3378"/>
                </a:solidFill>
              </a:defRPr>
            </a:lvl4pPr>
            <a:lvl5pPr>
              <a:defRPr sz="1800">
                <a:solidFill>
                  <a:srgbClr val="1E3378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2635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9664" y="0"/>
            <a:ext cx="12595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44796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chemeClr val="accent4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8"/>
          <p:cNvSpPr txBox="1">
            <a:spLocks noGrp="1"/>
          </p:cNvSpPr>
          <p:nvPr>
            <p:ph type="title"/>
          </p:nvPr>
        </p:nvSpPr>
        <p:spPr>
          <a:xfrm>
            <a:off x="655454" y="701800"/>
            <a:ext cx="7512085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8" name="Google Shape;58;p8"/>
          <p:cNvSpPr txBox="1">
            <a:spLocks noGrp="1"/>
          </p:cNvSpPr>
          <p:nvPr>
            <p:ph type="sldNum" idx="12"/>
          </p:nvPr>
        </p:nvSpPr>
        <p:spPr>
          <a:xfrm>
            <a:off x="11311421" y="6201587"/>
            <a:ext cx="733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 b="0" i="0">
                <a:latin typeface="NotesEsa" panose="02000506030000020004" pitchFamily="2" charset="77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en" smtClean="0"/>
              <a:pPr algn="r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"/>
          </a:p>
        </p:txBody>
      </p:sp>
      <p:grpSp>
        <p:nvGrpSpPr>
          <p:cNvPr id="10" name="Google Shape;10;p2">
            <a:extLst>
              <a:ext uri="{FF2B5EF4-FFF2-40B4-BE49-F238E27FC236}">
                <a16:creationId xmlns:a16="http://schemas.microsoft.com/office/drawing/2014/main" id="{1E38B267-0E74-40C3-ACE2-5B31919AB173}"/>
              </a:ext>
            </a:extLst>
          </p:cNvPr>
          <p:cNvGrpSpPr/>
          <p:nvPr userDrawn="1"/>
        </p:nvGrpSpPr>
        <p:grpSpPr>
          <a:xfrm>
            <a:off x="8153406" y="7"/>
            <a:ext cx="4071937" cy="2707427"/>
            <a:chOff x="6098378" y="5"/>
            <a:chExt cx="3045625" cy="2030570"/>
          </a:xfrm>
        </p:grpSpPr>
        <p:sp>
          <p:nvSpPr>
            <p:cNvPr id="11" name="Google Shape;11;p2">
              <a:extLst>
                <a:ext uri="{FF2B5EF4-FFF2-40B4-BE49-F238E27FC236}">
                  <a16:creationId xmlns:a16="http://schemas.microsoft.com/office/drawing/2014/main" id="{EC81263B-726B-414D-889F-49F56CD1FC9B}"/>
                </a:ext>
              </a:extLst>
            </p:cNvPr>
            <p:cNvSpPr/>
            <p:nvPr/>
          </p:nvSpPr>
          <p:spPr>
            <a:xfrm>
              <a:off x="8128803" y="16"/>
              <a:ext cx="1015200" cy="10152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NotesEsa" panose="02000506030000020004" pitchFamily="2" charset="77"/>
              </a:endParaRPr>
            </a:p>
          </p:txBody>
        </p:sp>
        <p:sp>
          <p:nvSpPr>
            <p:cNvPr id="12" name="Google Shape;12;p2">
              <a:extLst>
                <a:ext uri="{FF2B5EF4-FFF2-40B4-BE49-F238E27FC236}">
                  <a16:creationId xmlns:a16="http://schemas.microsoft.com/office/drawing/2014/main" id="{C5AA350B-4C2F-429E-B1F2-962F5AAA585F}"/>
                </a:ext>
              </a:extLst>
            </p:cNvPr>
            <p:cNvSpPr/>
            <p:nvPr/>
          </p:nvSpPr>
          <p:spPr>
            <a:xfrm flipH="1">
              <a:off x="7113463" y="5"/>
              <a:ext cx="1015200" cy="1015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NotesEsa" panose="02000506030000020004" pitchFamily="2" charset="77"/>
              </a:endParaRPr>
            </a:p>
          </p:txBody>
        </p:sp>
        <p:sp>
          <p:nvSpPr>
            <p:cNvPr id="13" name="Google Shape;13;p2">
              <a:extLst>
                <a:ext uri="{FF2B5EF4-FFF2-40B4-BE49-F238E27FC236}">
                  <a16:creationId xmlns:a16="http://schemas.microsoft.com/office/drawing/2014/main" id="{5C879194-E49C-4FA0-AF44-04455D1018F8}"/>
                </a:ext>
              </a:extLst>
            </p:cNvPr>
            <p:cNvSpPr/>
            <p:nvPr/>
          </p:nvSpPr>
          <p:spPr>
            <a:xfrm rot="10800000" flipH="1">
              <a:off x="7113588" y="107"/>
              <a:ext cx="1015200" cy="1015200"/>
            </a:xfrm>
            <a:prstGeom prst="rt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NotesEsa" panose="02000506030000020004" pitchFamily="2" charset="77"/>
              </a:endParaRPr>
            </a:p>
          </p:txBody>
        </p:sp>
        <p:sp>
          <p:nvSpPr>
            <p:cNvPr id="14" name="Google Shape;14;p2">
              <a:extLst>
                <a:ext uri="{FF2B5EF4-FFF2-40B4-BE49-F238E27FC236}">
                  <a16:creationId xmlns:a16="http://schemas.microsoft.com/office/drawing/2014/main" id="{BF25D588-1BCB-4634-8CFF-0CD8EED18160}"/>
                </a:ext>
              </a:extLst>
            </p:cNvPr>
            <p:cNvSpPr/>
            <p:nvPr/>
          </p:nvSpPr>
          <p:spPr>
            <a:xfrm rot="10800000">
              <a:off x="6098378" y="97"/>
              <a:ext cx="1015200" cy="1015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NotesEsa" panose="02000506030000020004" pitchFamily="2" charset="77"/>
              </a:endParaRPr>
            </a:p>
          </p:txBody>
        </p:sp>
        <p:sp>
          <p:nvSpPr>
            <p:cNvPr id="15" name="Google Shape;15;p2">
              <a:extLst>
                <a:ext uri="{FF2B5EF4-FFF2-40B4-BE49-F238E27FC236}">
                  <a16:creationId xmlns:a16="http://schemas.microsoft.com/office/drawing/2014/main" id="{B6948D45-B62B-4220-86A6-0009EF6A3516}"/>
                </a:ext>
              </a:extLst>
            </p:cNvPr>
            <p:cNvSpPr/>
            <p:nvPr/>
          </p:nvSpPr>
          <p:spPr>
            <a:xfrm rot="10800000">
              <a:off x="8128789" y="1015375"/>
              <a:ext cx="1015200" cy="1015200"/>
            </a:xfrm>
            <a:prstGeom prst="rt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NotesEsa" panose="02000506030000020004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498806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96658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0" y="-1"/>
            <a:ext cx="12225338" cy="6858001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4" y="3421831"/>
            <a:ext cx="10625007" cy="567399"/>
          </a:xfrm>
          <a:prstGeom prst="rect">
            <a:avLst/>
          </a:prstGeom>
        </p:spPr>
        <p:txBody>
          <a:bodyPr/>
          <a:lstStyle>
            <a:lvl1pPr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4" y="645844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326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ac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10" grpId="0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4" y="645464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80408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2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9" y="6455300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1682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32433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473890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4" y="1348840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6119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3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0319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42428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83431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5252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335E6F"/>
                </a:solidFill>
              </a:defRPr>
            </a:lvl1pPr>
            <a:lvl2pPr>
              <a:defRPr sz="1800">
                <a:solidFill>
                  <a:srgbClr val="335E6F"/>
                </a:solidFill>
              </a:defRPr>
            </a:lvl2pPr>
            <a:lvl3pPr>
              <a:defRPr sz="1800">
                <a:solidFill>
                  <a:srgbClr val="335E6F"/>
                </a:solidFill>
              </a:defRPr>
            </a:lvl3pPr>
            <a:lvl4pPr>
              <a:defRPr sz="1800">
                <a:solidFill>
                  <a:srgbClr val="335E6F"/>
                </a:solidFill>
              </a:defRPr>
            </a:lvl4pPr>
            <a:lvl5pPr>
              <a:defRPr sz="1800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5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6093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39537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335E6F"/>
                </a:solidFill>
              </a:defRPr>
            </a:lvl1pPr>
            <a:lvl2pPr>
              <a:defRPr sz="1800">
                <a:solidFill>
                  <a:srgbClr val="335E6F"/>
                </a:solidFill>
              </a:defRPr>
            </a:lvl2pPr>
            <a:lvl3pPr>
              <a:defRPr sz="1800">
                <a:solidFill>
                  <a:srgbClr val="335E6F"/>
                </a:solidFill>
              </a:defRPr>
            </a:lvl3pPr>
            <a:lvl4pPr>
              <a:defRPr sz="1800">
                <a:solidFill>
                  <a:srgbClr val="335E6F"/>
                </a:solidFill>
              </a:defRPr>
            </a:lvl4pPr>
            <a:lvl5pPr>
              <a:defRPr sz="1800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5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4897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76C8AE"/>
                </a:solidFill>
              </a:defRPr>
            </a:lvl1pPr>
            <a:lvl2pPr>
              <a:defRPr sz="1800">
                <a:solidFill>
                  <a:srgbClr val="76C8AE"/>
                </a:solidFill>
              </a:defRPr>
            </a:lvl2pPr>
            <a:lvl3pPr>
              <a:defRPr sz="1800">
                <a:solidFill>
                  <a:srgbClr val="76C8AE"/>
                </a:solidFill>
              </a:defRPr>
            </a:lvl3pPr>
            <a:lvl4pPr>
              <a:defRPr sz="1800">
                <a:solidFill>
                  <a:srgbClr val="76C8AE"/>
                </a:solidFill>
              </a:defRPr>
            </a:lvl4pPr>
            <a:lvl5pPr>
              <a:defRPr sz="1800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5649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288665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FFCC4E"/>
                </a:solidFill>
              </a:defRPr>
            </a:lvl1pPr>
            <a:lvl2pPr>
              <a:defRPr sz="1800">
                <a:solidFill>
                  <a:srgbClr val="FFCC4E"/>
                </a:solidFill>
              </a:defRPr>
            </a:lvl2pPr>
            <a:lvl3pPr>
              <a:defRPr sz="1800">
                <a:solidFill>
                  <a:srgbClr val="FFCC4E"/>
                </a:solidFill>
              </a:defRPr>
            </a:lvl3pPr>
            <a:lvl4pPr>
              <a:defRPr sz="1800">
                <a:solidFill>
                  <a:srgbClr val="FFCC4E"/>
                </a:solidFill>
              </a:defRPr>
            </a:lvl4pPr>
            <a:lvl5pPr>
              <a:defRPr sz="1800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22711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7266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0555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481824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38475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0803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76C8AE"/>
                </a:solidFill>
              </a:defRPr>
            </a:lvl1pPr>
            <a:lvl2pPr>
              <a:defRPr sz="1800">
                <a:solidFill>
                  <a:srgbClr val="76C8AE"/>
                </a:solidFill>
              </a:defRPr>
            </a:lvl2pPr>
            <a:lvl3pPr>
              <a:defRPr sz="1800">
                <a:solidFill>
                  <a:srgbClr val="76C8AE"/>
                </a:solidFill>
              </a:defRPr>
            </a:lvl3pPr>
            <a:lvl4pPr>
              <a:defRPr sz="1800">
                <a:solidFill>
                  <a:srgbClr val="76C8AE"/>
                </a:solidFill>
              </a:defRPr>
            </a:lvl4pPr>
            <a:lvl5pPr>
              <a:defRPr sz="1800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6073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Dark Blu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8" y="1948"/>
            <a:ext cx="12223949" cy="68556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464"/>
            <a:ext cx="8067451" cy="200838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848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23844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1639428E-BF47-FDC3-E654-0088DF566BF2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C9E7ACA7-1483-83CC-5260-DFC292796BF2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7705" y="4328519"/>
            <a:ext cx="10627380" cy="38965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800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F70288C-1C37-6B35-FE76-3857AB7AE7B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5" y="3351588"/>
            <a:ext cx="11809731" cy="70788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cxnSp>
        <p:nvCxnSpPr>
          <p:cNvPr id="7" name="Straight Connector 152">
            <a:extLst>
              <a:ext uri="{FF2B5EF4-FFF2-40B4-BE49-F238E27FC236}">
                <a16:creationId xmlns:a16="http://schemas.microsoft.com/office/drawing/2014/main" id="{E1F0D96C-2F05-46BB-1A6D-817B2D3D5216}"/>
              </a:ext>
            </a:extLst>
          </p:cNvPr>
          <p:cNvCxnSpPr>
            <a:cxnSpLocks/>
          </p:cNvCxnSpPr>
          <p:nvPr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5CCD6D4-FC6D-35D6-1B8C-2713089273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2351" y="4987222"/>
            <a:ext cx="3179249" cy="432717"/>
          </a:xfrm>
        </p:spPr>
        <p:txBody>
          <a:bodyPr/>
          <a:lstStyle>
            <a:lvl1pPr algn="r">
              <a:defRPr sz="3000"/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B17FEEEA-E782-94C2-CDB6-B4D01B2D64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77200" y="5493138"/>
            <a:ext cx="914400" cy="389658"/>
          </a:xfrm>
        </p:spPr>
        <p:txBody>
          <a:bodyPr/>
          <a:lstStyle>
            <a:lvl1pPr algn="r">
              <a:defRPr b="1"/>
            </a:lvl1pPr>
          </a:lstStyle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F3E94C2-7764-4172-4E23-9DAA71B11A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12351" y="5908409"/>
            <a:ext cx="3179249" cy="389658"/>
          </a:xfrm>
        </p:spPr>
        <p:txBody>
          <a:bodyPr/>
          <a:lstStyle>
            <a:lvl1pPr algn="r">
              <a:defRPr b="1"/>
            </a:lvl1pPr>
          </a:lstStyle>
          <a:p>
            <a:pPr lvl="0"/>
            <a:r>
              <a:rPr lang="en-US"/>
              <a:t>Ev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760098"/>
      </p:ext>
    </p:extLst>
  </p:cSld>
  <p:clrMapOvr>
    <a:masterClrMapping/>
  </p:clrMapOvr>
  <p:hf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19D8A637-24D9-0C6D-FFBC-ADED51A552BB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4320999"/>
      </p:ext>
    </p:extLst>
  </p:cSld>
  <p:clrMapOvr>
    <a:masterClrMapping/>
  </p:clrMapOvr>
  <p:hf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 hidden="1">
            <a:extLst>
              <a:ext uri="{FF2B5EF4-FFF2-40B4-BE49-F238E27FC236}">
                <a16:creationId xmlns:a16="http://schemas.microsoft.com/office/drawing/2014/main" id="{2255E0E5-6F8F-BBD8-F540-B420D29B83B0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D8B327-F726-21E2-C85D-FBBED15628DD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677E680-3BE8-571B-EDBB-5C6DF5C00552}"/>
              </a:ext>
            </a:extLst>
          </p:cNvPr>
          <p:cNvCxnSpPr/>
          <p:nvPr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8282154"/>
      </p:ext>
    </p:extLst>
  </p:cSld>
  <p:clrMapOvr>
    <a:masterClrMapping/>
  </p:clrMapOvr>
  <p:hf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D8B327-F726-21E2-C85D-FBBED15628DD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E7EB84-FE3F-FBB8-7921-2356BDDDFBAF}"/>
              </a:ext>
            </a:extLst>
          </p:cNvPr>
          <p:cNvSpPr/>
          <p:nvPr/>
        </p:nvSpPr>
        <p:spPr>
          <a:xfrm>
            <a:off x="-12107" y="874137"/>
            <a:ext cx="12237445" cy="6005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7EA54CD-14AA-B51C-5696-490517E33FE3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5CC0D09-9924-D509-5AA2-78DD6C5F18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DEA95D-3702-AC60-D955-8C0F7DB707BB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</p:spTree>
    <p:extLst>
      <p:ext uri="{BB962C8B-B14F-4D97-AF65-F5344CB8AC3E}">
        <p14:creationId xmlns:p14="http://schemas.microsoft.com/office/powerpoint/2010/main" val="648678844"/>
      </p:ext>
    </p:extLst>
  </p:cSld>
  <p:clrMapOvr>
    <a:masterClrMapping/>
  </p:clrMapOvr>
  <p:hf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795161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1639428E-BF47-FDC3-E654-0088DF566BF2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C9E7ACA7-1483-83CC-5260-DFC292796BF2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7705" y="4328519"/>
            <a:ext cx="10627380" cy="38965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800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F70288C-1C37-6B35-FE76-3857AB7AE7B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5" y="3351588"/>
            <a:ext cx="11809731" cy="70788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cxnSp>
        <p:nvCxnSpPr>
          <p:cNvPr id="7" name="Straight Connector 152">
            <a:extLst>
              <a:ext uri="{FF2B5EF4-FFF2-40B4-BE49-F238E27FC236}">
                <a16:creationId xmlns:a16="http://schemas.microsoft.com/office/drawing/2014/main" id="{E1F0D96C-2F05-46BB-1A6D-817B2D3D5216}"/>
              </a:ext>
            </a:extLst>
          </p:cNvPr>
          <p:cNvCxnSpPr>
            <a:cxnSpLocks/>
          </p:cNvCxnSpPr>
          <p:nvPr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5CCD6D4-FC6D-35D6-1B8C-2713089273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2351" y="4987222"/>
            <a:ext cx="3179249" cy="432717"/>
          </a:xfrm>
        </p:spPr>
        <p:txBody>
          <a:bodyPr/>
          <a:lstStyle>
            <a:lvl1pPr algn="r">
              <a:defRPr sz="3000"/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B17FEEEA-E782-94C2-CDB6-B4D01B2D64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77200" y="5493138"/>
            <a:ext cx="914400" cy="389658"/>
          </a:xfrm>
        </p:spPr>
        <p:txBody>
          <a:bodyPr/>
          <a:lstStyle>
            <a:lvl1pPr algn="r">
              <a:defRPr b="1"/>
            </a:lvl1pPr>
          </a:lstStyle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F3E94C2-7764-4172-4E23-9DAA71B11A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12351" y="5908409"/>
            <a:ext cx="3179249" cy="389658"/>
          </a:xfrm>
        </p:spPr>
        <p:txBody>
          <a:bodyPr/>
          <a:lstStyle>
            <a:lvl1pPr algn="r">
              <a:defRPr b="1"/>
            </a:lvl1pPr>
          </a:lstStyle>
          <a:p>
            <a:pPr lvl="0"/>
            <a:r>
              <a:rPr lang="en-US"/>
              <a:t>Ev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3637156"/>
      </p:ext>
    </p:extLst>
  </p:cSld>
  <p:clrMapOvr>
    <a:masterClrMapping/>
  </p:clrMapOvr>
  <p:hf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19D8A637-24D9-0C6D-FFBC-ADED51A552BB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394348"/>
      </p:ext>
    </p:extLst>
  </p:cSld>
  <p:clrMapOvr>
    <a:masterClrMapping/>
  </p:clrMapOvr>
  <p:hf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 hidden="1">
            <a:extLst>
              <a:ext uri="{FF2B5EF4-FFF2-40B4-BE49-F238E27FC236}">
                <a16:creationId xmlns:a16="http://schemas.microsoft.com/office/drawing/2014/main" id="{2255E0E5-6F8F-BBD8-F540-B420D29B83B0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D8B327-F726-21E2-C85D-FBBED15628DD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677E680-3BE8-571B-EDBB-5C6DF5C00552}"/>
              </a:ext>
            </a:extLst>
          </p:cNvPr>
          <p:cNvCxnSpPr/>
          <p:nvPr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535465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555708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D8B327-F726-21E2-C85D-FBBED15628DD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E7EB84-FE3F-FBB8-7921-2356BDDDFBAF}"/>
              </a:ext>
            </a:extLst>
          </p:cNvPr>
          <p:cNvSpPr/>
          <p:nvPr/>
        </p:nvSpPr>
        <p:spPr>
          <a:xfrm>
            <a:off x="-12107" y="874137"/>
            <a:ext cx="12237445" cy="6005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7EA54CD-14AA-B51C-5696-490517E33FE3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5CC0D09-9924-D509-5AA2-78DD6C5F18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DEA95D-3702-AC60-D955-8C0F7DB707BB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</p:spTree>
    <p:extLst>
      <p:ext uri="{BB962C8B-B14F-4D97-AF65-F5344CB8AC3E}">
        <p14:creationId xmlns:p14="http://schemas.microsoft.com/office/powerpoint/2010/main" val="950393065"/>
      </p:ext>
    </p:extLst>
  </p:cSld>
  <p:clrMapOvr>
    <a:masterClrMapping/>
  </p:clrMapOvr>
  <p:hf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32150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A50_Anniv_Blue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B4E70818-9563-4F06-956D-FEFEF006586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2" y="882000"/>
            <a:ext cx="11764800" cy="5230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NotesEsa" panose="02000506030000020004" pitchFamily="2" charset="77"/>
              </a:defRPr>
            </a:lvl1pPr>
            <a:lvl2pPr>
              <a:defRPr sz="1800">
                <a:latin typeface="NotesEsa" panose="02000506030000020004" pitchFamily="2" charset="77"/>
              </a:defRPr>
            </a:lvl2pPr>
            <a:lvl3pPr>
              <a:defRPr sz="1800">
                <a:latin typeface="NotesEsa" panose="02000506030000020004" pitchFamily="2" charset="77"/>
              </a:defRPr>
            </a:lvl3pPr>
            <a:lvl4pPr>
              <a:defRPr sz="1800">
                <a:latin typeface="NotesEsa" panose="02000506030000020004" pitchFamily="2" charset="77"/>
              </a:defRPr>
            </a:lvl4pPr>
            <a:lvl5pPr>
              <a:defRPr sz="1800">
                <a:latin typeface="NotesEsa" panose="02000506030000020004" pitchFamily="2" charset="77"/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A55E71A-2ED7-DB52-B759-0DC9EDD1A0F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>
            <a:extLst>
              <a:ext uri="{FF2B5EF4-FFF2-40B4-BE49-F238E27FC236}">
                <a16:creationId xmlns:a16="http://schemas.microsoft.com/office/drawing/2014/main" id="{65DDE358-7574-B414-3F01-22AD56B0E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1764800" cy="565200"/>
          </a:xfrm>
          <a:prstGeom prst="rect">
            <a:avLst/>
          </a:prstGeom>
        </p:spPr>
        <p:txBody>
          <a:bodyPr/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8" name="Text Box 58">
            <a:extLst>
              <a:ext uri="{FF2B5EF4-FFF2-40B4-BE49-F238E27FC236}">
                <a16:creationId xmlns:a16="http://schemas.microsoft.com/office/drawing/2014/main" id="{A14D042D-F60A-5B34-D3A0-073ADF3400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NotesEsa" panose="02000506030000020004" pitchFamily="2" charset="77"/>
                <a:cs typeface="Arial" panose="020B0604020202020204" pitchFamily="34" charset="0"/>
              </a:rPr>
              <a:t>ESA UNCLASSIFIED - For ESA Official Use Only</a:t>
            </a:r>
          </a:p>
        </p:txBody>
      </p:sp>
    </p:spTree>
    <p:extLst>
      <p:ext uri="{BB962C8B-B14F-4D97-AF65-F5344CB8AC3E}">
        <p14:creationId xmlns:p14="http://schemas.microsoft.com/office/powerpoint/2010/main" val="322127063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Background pattern&#10;&#10;Description automatically generated">
            <a:extLst>
              <a:ext uri="{FF2B5EF4-FFF2-40B4-BE49-F238E27FC236}">
                <a16:creationId xmlns:a16="http://schemas.microsoft.com/office/drawing/2014/main" id="{3340BD7C-EF85-78BF-A91B-1785DA1AC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6541" cy="6858675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0B07B572-E4F9-BF4A-80A7-44FBFF78E7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1132" y="121921"/>
            <a:ext cx="1413568" cy="555415"/>
          </a:xfrm>
          <a:prstGeom prst="rect">
            <a:avLst/>
          </a:prstGeom>
        </p:spPr>
      </p:pic>
      <p:sp>
        <p:nvSpPr>
          <p:cNvPr id="2" name="Text Box 34">
            <a:extLst>
              <a:ext uri="{FF2B5EF4-FFF2-40B4-BE49-F238E27FC236}">
                <a16:creationId xmlns:a16="http://schemas.microsoft.com/office/drawing/2014/main" id="{31B80924-0C16-A36E-A53A-9DEA879BF7B2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11745057" y="6250107"/>
            <a:ext cx="288844" cy="287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/>
          <a:lstStyle/>
          <a:p>
            <a:pPr algn="r">
              <a:spcBef>
                <a:spcPct val="50000"/>
              </a:spcBef>
            </a:pPr>
            <a:fld id="{4630B4BB-2C40-48DB-9D8B-17679D651B0A}" type="slidenum">
              <a:rPr lang="en-GB" sz="1067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1067" noProof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Box 34">
            <a:extLst>
              <a:ext uri="{FF2B5EF4-FFF2-40B4-BE49-F238E27FC236}">
                <a16:creationId xmlns:a16="http://schemas.microsoft.com/office/drawing/2014/main" id="{16BDB6AA-4471-9F6F-34E8-A5CFC1A543CA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11745057" y="6250107"/>
            <a:ext cx="288844" cy="287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/>
          <a:lstStyle/>
          <a:p>
            <a:pPr algn="r">
              <a:spcBef>
                <a:spcPct val="50000"/>
              </a:spcBef>
            </a:pPr>
            <a:fld id="{4630B4BB-2C40-48DB-9D8B-17679D651B0A}" type="slidenum">
              <a:rPr lang="en-GB" sz="1067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1067" noProof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8E89E8-67D5-AA0D-AED7-FE5698405C35}"/>
              </a:ext>
            </a:extLst>
          </p:cNvPr>
          <p:cNvSpPr txBox="1"/>
          <p:nvPr userDrawn="1"/>
        </p:nvSpPr>
        <p:spPr>
          <a:xfrm>
            <a:off x="122994" y="6330944"/>
            <a:ext cx="46258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EBB66B-7918-653D-D23C-9A9DC00CF16B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082" y="6584400"/>
            <a:ext cx="1645884" cy="104400"/>
          </a:xfrm>
          <a:prstGeom prst="rect">
            <a:avLst/>
          </a:prstGeom>
        </p:spPr>
      </p:pic>
      <p:pic>
        <p:nvPicPr>
          <p:cNvPr id="7" name="Picture 39">
            <a:extLst>
              <a:ext uri="{FF2B5EF4-FFF2-40B4-BE49-F238E27FC236}">
                <a16:creationId xmlns:a16="http://schemas.microsoft.com/office/drawing/2014/main" id="{476EB5FE-5287-A505-FD4C-4EBC365F56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" y="6455665"/>
            <a:ext cx="10187718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801959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59640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0" y="-1"/>
            <a:ext cx="12225338" cy="6858001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8" y="5258121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1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7" y="3421835"/>
            <a:ext cx="10625008" cy="567399"/>
          </a:xfrm>
          <a:prstGeom prst="rect">
            <a:avLst/>
          </a:prstGeom>
        </p:spPr>
        <p:txBody>
          <a:bodyPr/>
          <a:lstStyle>
            <a:lvl1pPr>
              <a:defRPr sz="3079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8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b="0" i="0" noProof="0">
              <a:latin typeface="NotesEsa" panose="02000506030000020004" pitchFamily="2" charset="77"/>
            </a:endParaRP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3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1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90" y="-216085"/>
            <a:ext cx="2093891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4" y="6584400"/>
            <a:ext cx="1641395" cy="1044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5" y="645844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69055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2001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5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2" y="-2"/>
            <a:ext cx="12302860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7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90" y="-216085"/>
            <a:ext cx="2093891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3" y="6201716"/>
            <a:ext cx="37514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7999" cy="1044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5" y="645464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3298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1" y="0"/>
            <a:ext cx="12192001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34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90" y="-216085"/>
            <a:ext cx="2093891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3" y="882000"/>
            <a:ext cx="11795827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3" y="6201716"/>
            <a:ext cx="37514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7999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9" y="6455300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57907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0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4" y="0"/>
            <a:ext cx="1222199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90" y="-216085"/>
            <a:ext cx="2093891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3" y="6201716"/>
            <a:ext cx="37514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7999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1497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070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FFCC4E"/>
                </a:solidFill>
              </a:defRPr>
            </a:lvl1pPr>
            <a:lvl2pPr>
              <a:defRPr sz="1800">
                <a:solidFill>
                  <a:srgbClr val="FFCC4E"/>
                </a:solidFill>
              </a:defRPr>
            </a:lvl2pPr>
            <a:lvl3pPr>
              <a:defRPr sz="1800">
                <a:solidFill>
                  <a:srgbClr val="FFCC4E"/>
                </a:solidFill>
              </a:defRPr>
            </a:lvl3pPr>
            <a:lvl4pPr>
              <a:defRPr sz="1800">
                <a:solidFill>
                  <a:srgbClr val="FFCC4E"/>
                </a:solidFill>
              </a:defRPr>
            </a:lvl4pPr>
            <a:lvl5pPr>
              <a:defRPr sz="1800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56962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8" y="1321784"/>
          <a:ext cx="11656059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6" y="1348844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150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8" y="1219355"/>
          <a:ext cx="11656059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381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2" y="-2"/>
            <a:ext cx="12302860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7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10473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2" y="-2"/>
            <a:ext cx="12302860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7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31170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2" y="-2"/>
            <a:ext cx="12302860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7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61" y="1674001"/>
            <a:ext cx="5788799" cy="43164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7"/>
            </a:lvl6pPr>
            <a:lvl7pPr>
              <a:defRPr sz="1297"/>
            </a:lvl7pPr>
            <a:lvl8pPr>
              <a:defRPr sz="1297"/>
            </a:lvl8pPr>
            <a:lvl9pPr>
              <a:defRPr sz="1297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799" y="1674001"/>
            <a:ext cx="5778000" cy="43164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7"/>
            </a:lvl6pPr>
            <a:lvl7pPr>
              <a:defRPr sz="1297"/>
            </a:lvl7pPr>
            <a:lvl8pPr>
              <a:defRPr sz="1297"/>
            </a:lvl8pPr>
            <a:lvl9pPr>
              <a:defRPr sz="1297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706101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557749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>
            <a:lvl1pPr>
              <a:defRPr sz="2992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335E6F"/>
                </a:solidFill>
              </a:defRPr>
            </a:lvl1pPr>
            <a:lvl2pPr>
              <a:defRPr sz="1795">
                <a:solidFill>
                  <a:srgbClr val="335E6F"/>
                </a:solidFill>
              </a:defRPr>
            </a:lvl2pPr>
            <a:lvl3pPr>
              <a:defRPr sz="1795">
                <a:solidFill>
                  <a:srgbClr val="335E6F"/>
                </a:solidFill>
              </a:defRPr>
            </a:lvl3pPr>
            <a:lvl4pPr>
              <a:defRPr sz="1795">
                <a:solidFill>
                  <a:srgbClr val="335E6F"/>
                </a:solidFill>
              </a:defRPr>
            </a:lvl4pPr>
            <a:lvl5pPr>
              <a:defRPr sz="1795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8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798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798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2936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76C8AE"/>
                </a:solidFill>
              </a:defRPr>
            </a:lvl1pPr>
            <a:lvl2pPr>
              <a:defRPr sz="1795">
                <a:solidFill>
                  <a:srgbClr val="76C8AE"/>
                </a:solidFill>
              </a:defRPr>
            </a:lvl2pPr>
            <a:lvl3pPr>
              <a:defRPr sz="1795">
                <a:solidFill>
                  <a:srgbClr val="76C8AE"/>
                </a:solidFill>
              </a:defRPr>
            </a:lvl3pPr>
            <a:lvl4pPr>
              <a:defRPr sz="1795">
                <a:solidFill>
                  <a:srgbClr val="76C8AE"/>
                </a:solidFill>
              </a:defRPr>
            </a:lvl4pPr>
            <a:lvl5pPr>
              <a:defRPr sz="1795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68958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7878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FFCC4E"/>
                </a:solidFill>
              </a:defRPr>
            </a:lvl1pPr>
            <a:lvl2pPr>
              <a:defRPr sz="1795">
                <a:solidFill>
                  <a:srgbClr val="FFCC4E"/>
                </a:solidFill>
              </a:defRPr>
            </a:lvl2pPr>
            <a:lvl3pPr>
              <a:defRPr sz="1795">
                <a:solidFill>
                  <a:srgbClr val="FFCC4E"/>
                </a:solidFill>
              </a:defRPr>
            </a:lvl3pPr>
            <a:lvl4pPr>
              <a:defRPr sz="1795">
                <a:solidFill>
                  <a:srgbClr val="FFCC4E"/>
                </a:solidFill>
              </a:defRPr>
            </a:lvl4pPr>
            <a:lvl5pPr>
              <a:defRPr sz="1795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1083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460948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009BDB"/>
                </a:solidFill>
              </a:defRPr>
            </a:lvl1pPr>
            <a:lvl2pPr>
              <a:defRPr sz="1795">
                <a:solidFill>
                  <a:srgbClr val="009BDB"/>
                </a:solidFill>
              </a:defRPr>
            </a:lvl2pPr>
            <a:lvl3pPr>
              <a:defRPr sz="1795">
                <a:solidFill>
                  <a:srgbClr val="009BDB"/>
                </a:solidFill>
              </a:defRPr>
            </a:lvl3pPr>
            <a:lvl4pPr>
              <a:defRPr sz="1795">
                <a:solidFill>
                  <a:srgbClr val="009BDB"/>
                </a:solidFill>
              </a:defRPr>
            </a:lvl4pPr>
            <a:lvl5pPr>
              <a:defRPr sz="1795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756440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1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7" y="2011307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8" y="4524211"/>
            <a:ext cx="2820472" cy="314495"/>
          </a:xfrm>
          <a:prstGeom prst="rect">
            <a:avLst/>
          </a:prstGeom>
        </p:spPr>
        <p:txBody>
          <a:bodyPr vert="horz" lIns="65970" tIns="32987" rIns="65970" bIns="32987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9" y="2041527"/>
            <a:ext cx="2827110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35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71" indent="0">
              <a:buNone/>
              <a:defRPr sz="1443" b="1"/>
            </a:lvl2pPr>
            <a:lvl3pPr marL="659742" indent="0">
              <a:buNone/>
              <a:defRPr sz="1297" b="1"/>
            </a:lvl3pPr>
            <a:lvl4pPr marL="989613" indent="0">
              <a:buNone/>
              <a:defRPr sz="1154" b="1"/>
            </a:lvl4pPr>
            <a:lvl5pPr marL="1319484" indent="0">
              <a:buNone/>
              <a:defRPr sz="1154" b="1"/>
            </a:lvl5pPr>
            <a:lvl6pPr marL="1649354" indent="0">
              <a:buNone/>
              <a:defRPr sz="1154" b="1"/>
            </a:lvl6pPr>
            <a:lvl7pPr marL="1979227" indent="0">
              <a:buNone/>
              <a:defRPr sz="1154" b="1"/>
            </a:lvl7pPr>
            <a:lvl8pPr marL="2309098" indent="0">
              <a:buNone/>
              <a:defRPr sz="1154" b="1"/>
            </a:lvl8pPr>
            <a:lvl9pPr marL="2638967" indent="0">
              <a:buNone/>
              <a:defRPr sz="1154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9" y="1740025"/>
            <a:ext cx="2827110" cy="261521"/>
          </a:xfrm>
          <a:prstGeom prst="rect">
            <a:avLst/>
          </a:prstGeom>
        </p:spPr>
        <p:txBody>
          <a:bodyPr vert="horz" lIns="65970" tIns="32987" rIns="65970" bIns="32987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5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5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9" y="4406778"/>
            <a:ext cx="2827110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95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71" indent="0">
              <a:buNone/>
              <a:defRPr sz="1443" b="1"/>
            </a:lvl2pPr>
            <a:lvl3pPr marL="659742" indent="0">
              <a:buNone/>
              <a:defRPr sz="1297" b="1"/>
            </a:lvl3pPr>
            <a:lvl4pPr marL="989613" indent="0">
              <a:buNone/>
              <a:defRPr sz="1154" b="1"/>
            </a:lvl4pPr>
            <a:lvl5pPr marL="1319484" indent="0">
              <a:buNone/>
              <a:defRPr sz="1154" b="1"/>
            </a:lvl5pPr>
            <a:lvl6pPr marL="1649354" indent="0">
              <a:buNone/>
              <a:defRPr sz="1154" b="1"/>
            </a:lvl6pPr>
            <a:lvl7pPr marL="1979227" indent="0">
              <a:buNone/>
              <a:defRPr sz="1154" b="1"/>
            </a:lvl7pPr>
            <a:lvl8pPr marL="2309098" indent="0">
              <a:buNone/>
              <a:defRPr sz="1154" b="1"/>
            </a:lvl8pPr>
            <a:lvl9pPr marL="2638967" indent="0">
              <a:buNone/>
              <a:defRPr sz="1154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41085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6" y="236219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40" y="-156451"/>
            <a:ext cx="2099617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3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4978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98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33" y="6585917"/>
            <a:ext cx="1641395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9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33" y="6585917"/>
            <a:ext cx="1641395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3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61" y="1097918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79" y="6438900"/>
            <a:ext cx="1021325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3562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6" y="236219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40" y="-156451"/>
            <a:ext cx="2099617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3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4978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98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33" y="6585917"/>
            <a:ext cx="1641395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61" y="1097918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247517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0"/>
            </a:lvl1pPr>
            <a:lvl2pPr>
              <a:defRPr sz="1790"/>
            </a:lvl2pPr>
            <a:lvl3pPr>
              <a:defRPr sz="1790"/>
            </a:lvl3pPr>
            <a:lvl4pPr>
              <a:defRPr sz="1790"/>
            </a:lvl4pPr>
            <a:lvl5pPr>
              <a:defRPr sz="179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3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843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ligh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9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2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9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98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7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FB0E8-E278-5729-67ED-AAC00D8F73FC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6236653" y="1097917"/>
            <a:ext cx="5776272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895556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Blu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8" y="1948"/>
            <a:ext cx="12223949" cy="68556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464"/>
            <a:ext cx="8067451" cy="200838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29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29200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225338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69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000" y="3421831"/>
            <a:ext cx="10625007" cy="567399"/>
          </a:xfrm>
          <a:prstGeom prst="rect">
            <a:avLst/>
          </a:prstGeom>
        </p:spPr>
        <p:txBody>
          <a:bodyPr/>
          <a:lstStyle>
            <a:lvl1pPr algn="l"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33582" y="5406990"/>
            <a:ext cx="227947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11453" y="6156809"/>
            <a:ext cx="22794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125001" y="5811879"/>
            <a:ext cx="914400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3200" y="6213933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495" y="6202800"/>
            <a:ext cx="291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pic>
        <p:nvPicPr>
          <p:cNvPr id="102" name="Picture 5">
            <a:extLst>
              <a:ext uri="{FF2B5EF4-FFF2-40B4-BE49-F238E27FC236}">
                <a16:creationId xmlns:a16="http://schemas.microsoft.com/office/drawing/2014/main" id="{EA088D67-7B06-4281-990B-01FE6467697E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" y="6457664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653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16553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64813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599158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74143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59" y="1673225"/>
            <a:ext cx="5804673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7601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28811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6762"/>
                </a:solidFill>
              </a:defRPr>
            </a:lvl1pPr>
            <a:lvl2pPr>
              <a:defRPr sz="1800">
                <a:solidFill>
                  <a:srgbClr val="006762"/>
                </a:solidFill>
              </a:defRPr>
            </a:lvl2pPr>
            <a:lvl3pPr>
              <a:defRPr sz="1800">
                <a:solidFill>
                  <a:srgbClr val="006762"/>
                </a:solidFill>
              </a:defRPr>
            </a:lvl3pPr>
            <a:lvl4pPr>
              <a:defRPr sz="1800">
                <a:solidFill>
                  <a:srgbClr val="006762"/>
                </a:solidFill>
              </a:defRPr>
            </a:lvl4pPr>
            <a:lvl5pPr>
              <a:defRPr sz="1800">
                <a:solidFill>
                  <a:srgbClr val="006762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415589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960136"/>
                </a:solidFill>
              </a:defRPr>
            </a:lvl1pPr>
            <a:lvl2pPr>
              <a:defRPr sz="1800">
                <a:solidFill>
                  <a:srgbClr val="960136"/>
                </a:solidFill>
              </a:defRPr>
            </a:lvl2pPr>
            <a:lvl3pPr>
              <a:defRPr sz="1800">
                <a:solidFill>
                  <a:srgbClr val="960136"/>
                </a:solidFill>
              </a:defRPr>
            </a:lvl3pPr>
            <a:lvl4pPr>
              <a:defRPr sz="1800">
                <a:solidFill>
                  <a:srgbClr val="960136"/>
                </a:solidFill>
              </a:defRPr>
            </a:lvl4pPr>
            <a:lvl5pPr>
              <a:defRPr sz="1800">
                <a:solidFill>
                  <a:srgbClr val="960136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27006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A75534"/>
                </a:solidFill>
              </a:defRPr>
            </a:lvl1pPr>
            <a:lvl2pPr>
              <a:defRPr sz="1800">
                <a:solidFill>
                  <a:srgbClr val="A75534"/>
                </a:solidFill>
              </a:defRPr>
            </a:lvl2pPr>
            <a:lvl3pPr>
              <a:defRPr sz="1800">
                <a:solidFill>
                  <a:srgbClr val="A75534"/>
                </a:solidFill>
              </a:defRPr>
            </a:lvl3pPr>
            <a:lvl4pPr>
              <a:defRPr sz="1800">
                <a:solidFill>
                  <a:srgbClr val="A75534"/>
                </a:solidFill>
              </a:defRPr>
            </a:lvl4pPr>
            <a:lvl5pPr>
              <a:defRPr sz="1800">
                <a:solidFill>
                  <a:srgbClr val="A75534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5418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1E3378"/>
                </a:solidFill>
              </a:defRPr>
            </a:lvl1pPr>
            <a:lvl2pPr>
              <a:defRPr sz="1800">
                <a:solidFill>
                  <a:srgbClr val="1E3378"/>
                </a:solidFill>
              </a:defRPr>
            </a:lvl2pPr>
            <a:lvl3pPr>
              <a:defRPr sz="1800">
                <a:solidFill>
                  <a:srgbClr val="1E3378"/>
                </a:solidFill>
              </a:defRPr>
            </a:lvl3pPr>
            <a:lvl4pPr>
              <a:defRPr sz="1800">
                <a:solidFill>
                  <a:srgbClr val="1E3378"/>
                </a:solidFill>
              </a:defRPr>
            </a:lvl4pPr>
            <a:lvl5pPr>
              <a:defRPr sz="1800">
                <a:solidFill>
                  <a:srgbClr val="1E3378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18191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9664" y="0"/>
            <a:ext cx="12595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34514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4081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4" y="3421831"/>
            <a:ext cx="10625007" cy="567399"/>
          </a:xfrm>
          <a:prstGeom prst="rect">
            <a:avLst/>
          </a:prstGeom>
        </p:spPr>
        <p:txBody>
          <a:bodyPr/>
          <a:lstStyle>
            <a:lvl1pPr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" y="6455664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389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1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21992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" y="6456648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1153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2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" y="6457300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2863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" y="6460816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12572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6110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4" y="1348840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344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3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536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196976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95379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527656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46036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7981239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335E6F"/>
                </a:solidFill>
              </a:defRPr>
            </a:lvl1pPr>
            <a:lvl2pPr>
              <a:defRPr sz="1800">
                <a:solidFill>
                  <a:srgbClr val="335E6F"/>
                </a:solidFill>
              </a:defRPr>
            </a:lvl2pPr>
            <a:lvl3pPr>
              <a:defRPr sz="1800">
                <a:solidFill>
                  <a:srgbClr val="335E6F"/>
                </a:solidFill>
              </a:defRPr>
            </a:lvl3pPr>
            <a:lvl4pPr>
              <a:defRPr sz="1800">
                <a:solidFill>
                  <a:srgbClr val="335E6F"/>
                </a:solidFill>
              </a:defRPr>
            </a:lvl4pPr>
            <a:lvl5pPr>
              <a:defRPr sz="1800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5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25289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76C8AE"/>
                </a:solidFill>
              </a:defRPr>
            </a:lvl1pPr>
            <a:lvl2pPr>
              <a:defRPr sz="1800">
                <a:solidFill>
                  <a:srgbClr val="76C8AE"/>
                </a:solidFill>
              </a:defRPr>
            </a:lvl2pPr>
            <a:lvl3pPr>
              <a:defRPr sz="1800">
                <a:solidFill>
                  <a:srgbClr val="76C8AE"/>
                </a:solidFill>
              </a:defRPr>
            </a:lvl3pPr>
            <a:lvl4pPr>
              <a:defRPr sz="1800">
                <a:solidFill>
                  <a:srgbClr val="76C8AE"/>
                </a:solidFill>
              </a:defRPr>
            </a:lvl4pPr>
            <a:lvl5pPr>
              <a:defRPr sz="1800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4498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62574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FFCC4E"/>
                </a:solidFill>
              </a:defRPr>
            </a:lvl1pPr>
            <a:lvl2pPr>
              <a:defRPr sz="1800">
                <a:solidFill>
                  <a:srgbClr val="FFCC4E"/>
                </a:solidFill>
              </a:defRPr>
            </a:lvl2pPr>
            <a:lvl3pPr>
              <a:defRPr sz="1800">
                <a:solidFill>
                  <a:srgbClr val="FFCC4E"/>
                </a:solidFill>
              </a:defRPr>
            </a:lvl3pPr>
            <a:lvl4pPr>
              <a:defRPr sz="1800">
                <a:solidFill>
                  <a:srgbClr val="FFCC4E"/>
                </a:solidFill>
              </a:defRPr>
            </a:lvl4pPr>
            <a:lvl5pPr>
              <a:defRPr sz="1800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98032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090061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723347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77131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D8B327-F726-21E2-C85D-FBBED15628DD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E7EB84-FE3F-FBB8-7921-2356BDDDFBAF}"/>
              </a:ext>
            </a:extLst>
          </p:cNvPr>
          <p:cNvSpPr/>
          <p:nvPr/>
        </p:nvSpPr>
        <p:spPr>
          <a:xfrm>
            <a:off x="-12107" y="874137"/>
            <a:ext cx="12237445" cy="6005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7EA54CD-14AA-B51C-5696-490517E33FE3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5CC0D09-9924-D509-5AA2-78DD6C5F18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DEA95D-3702-AC60-D955-8C0F7DB707BB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</p:spTree>
    <p:extLst>
      <p:ext uri="{BB962C8B-B14F-4D97-AF65-F5344CB8AC3E}">
        <p14:creationId xmlns:p14="http://schemas.microsoft.com/office/powerpoint/2010/main" val="4087950461"/>
      </p:ext>
    </p:extLst>
  </p:cSld>
  <p:clrMapOvr>
    <a:masterClrMapping/>
  </p:clrMapOvr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Dark Blu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8" y="1948"/>
            <a:ext cx="12223949" cy="68556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464"/>
            <a:ext cx="8067451" cy="200838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05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77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4" y="645464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997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35517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0" y="-1"/>
            <a:ext cx="12225338" cy="6858001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394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9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1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5" y="3421831"/>
            <a:ext cx="10625007" cy="567399"/>
          </a:xfrm>
          <a:prstGeom prst="rect">
            <a:avLst/>
          </a:prstGeom>
        </p:spPr>
        <p:txBody>
          <a:bodyPr/>
          <a:lstStyle>
            <a:lvl1pPr>
              <a:defRPr sz="3079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b="0" i="0" noProof="0">
              <a:latin typeface="NotesEsa" panose="02000506030000020004" pitchFamily="2" charset="77"/>
            </a:endParaRP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B31DCCA-A7B6-D84C-80F5-C8B6060877E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6439212"/>
            <a:ext cx="9793248" cy="40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76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2" ac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10" grpId="0"/>
    </p:bld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4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FD2A0349-EA18-7676-C260-F5C68450FC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6439212"/>
            <a:ext cx="9793248" cy="40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228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394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18FDA6E-2144-A9B6-83E7-931EB68E8B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6439212"/>
            <a:ext cx="9793248" cy="40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37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394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7763875-5F37-A959-7C77-CA4A5A0E14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6439212"/>
            <a:ext cx="9793248" cy="40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742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08885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5" y="1348842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441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5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0717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95390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14122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6013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A50_Anniv_Blu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B4E70818-9563-4F06-956D-FEFEF006586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2" y="882000"/>
            <a:ext cx="11764800" cy="5230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NotesEsa" panose="02000506030000020004" pitchFamily="2" charset="77"/>
              </a:defRPr>
            </a:lvl1pPr>
            <a:lvl2pPr>
              <a:defRPr sz="1800">
                <a:latin typeface="NotesEsa" panose="02000506030000020004" pitchFamily="2" charset="77"/>
              </a:defRPr>
            </a:lvl2pPr>
            <a:lvl3pPr>
              <a:defRPr sz="1800">
                <a:latin typeface="NotesEsa" panose="02000506030000020004" pitchFamily="2" charset="77"/>
              </a:defRPr>
            </a:lvl3pPr>
            <a:lvl4pPr>
              <a:defRPr sz="1800">
                <a:latin typeface="NotesEsa" panose="02000506030000020004" pitchFamily="2" charset="77"/>
              </a:defRPr>
            </a:lvl4pPr>
            <a:lvl5pPr>
              <a:defRPr sz="1800">
                <a:latin typeface="NotesEsa" panose="02000506030000020004" pitchFamily="2" charset="77"/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A55E71A-2ED7-DB52-B759-0DC9EDD1A0F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1">
            <a:extLst>
              <a:ext uri="{FF2B5EF4-FFF2-40B4-BE49-F238E27FC236}">
                <a16:creationId xmlns:a16="http://schemas.microsoft.com/office/drawing/2014/main" id="{65DDE358-7574-B414-3F01-22AD56B0E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1764800" cy="565200"/>
          </a:xfrm>
          <a:prstGeom prst="rect">
            <a:avLst/>
          </a:prstGeom>
        </p:spPr>
        <p:txBody>
          <a:bodyPr/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8" name="Text Box 58">
            <a:extLst>
              <a:ext uri="{FF2B5EF4-FFF2-40B4-BE49-F238E27FC236}">
                <a16:creationId xmlns:a16="http://schemas.microsoft.com/office/drawing/2014/main" id="{A14D042D-F60A-5B34-D3A0-073ADF3400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NotesEsa" panose="02000506030000020004" pitchFamily="2" charset="77"/>
                <a:cs typeface="Arial" panose="020B0604020202020204" pitchFamily="34" charset="0"/>
              </a:rPr>
              <a:t>ESA UNCLASSIFIED - For ESA Official Use Only</a:t>
            </a:r>
          </a:p>
        </p:txBody>
      </p:sp>
    </p:spTree>
    <p:extLst>
      <p:ext uri="{BB962C8B-B14F-4D97-AF65-F5344CB8AC3E}">
        <p14:creationId xmlns:p14="http://schemas.microsoft.com/office/powerpoint/2010/main" val="2961078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540167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2992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335E6F"/>
                </a:solidFill>
              </a:defRPr>
            </a:lvl1pPr>
            <a:lvl2pPr>
              <a:defRPr sz="1795">
                <a:solidFill>
                  <a:srgbClr val="335E6F"/>
                </a:solidFill>
              </a:defRPr>
            </a:lvl2pPr>
            <a:lvl3pPr>
              <a:defRPr sz="1795">
                <a:solidFill>
                  <a:srgbClr val="335E6F"/>
                </a:solidFill>
              </a:defRPr>
            </a:lvl3pPr>
            <a:lvl4pPr>
              <a:defRPr sz="1795">
                <a:solidFill>
                  <a:srgbClr val="335E6F"/>
                </a:solidFill>
              </a:defRPr>
            </a:lvl4pPr>
            <a:lvl5pPr>
              <a:defRPr sz="1795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6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798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798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78512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76C8AE"/>
                </a:solidFill>
              </a:defRPr>
            </a:lvl1pPr>
            <a:lvl2pPr>
              <a:defRPr sz="1795">
                <a:solidFill>
                  <a:srgbClr val="76C8AE"/>
                </a:solidFill>
              </a:defRPr>
            </a:lvl2pPr>
            <a:lvl3pPr>
              <a:defRPr sz="1795">
                <a:solidFill>
                  <a:srgbClr val="76C8AE"/>
                </a:solidFill>
              </a:defRPr>
            </a:lvl3pPr>
            <a:lvl4pPr>
              <a:defRPr sz="1795">
                <a:solidFill>
                  <a:srgbClr val="76C8AE"/>
                </a:solidFill>
              </a:defRPr>
            </a:lvl4pPr>
            <a:lvl5pPr>
              <a:defRPr sz="1795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658524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56158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FFCC4E"/>
                </a:solidFill>
              </a:defRPr>
            </a:lvl1pPr>
            <a:lvl2pPr>
              <a:defRPr sz="1795">
                <a:solidFill>
                  <a:srgbClr val="FFCC4E"/>
                </a:solidFill>
              </a:defRPr>
            </a:lvl2pPr>
            <a:lvl3pPr>
              <a:defRPr sz="1795">
                <a:solidFill>
                  <a:srgbClr val="FFCC4E"/>
                </a:solidFill>
              </a:defRPr>
            </a:lvl3pPr>
            <a:lvl4pPr>
              <a:defRPr sz="1795">
                <a:solidFill>
                  <a:srgbClr val="FFCC4E"/>
                </a:solidFill>
              </a:defRPr>
            </a:lvl4pPr>
            <a:lvl5pPr>
              <a:defRPr sz="1795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3098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5">
                <a:solidFill>
                  <a:srgbClr val="009BDB"/>
                </a:solidFill>
              </a:defRPr>
            </a:lvl1pPr>
            <a:lvl2pPr>
              <a:defRPr sz="1795">
                <a:solidFill>
                  <a:srgbClr val="009BDB"/>
                </a:solidFill>
              </a:defRPr>
            </a:lvl2pPr>
            <a:lvl3pPr>
              <a:defRPr sz="1795">
                <a:solidFill>
                  <a:srgbClr val="009BDB"/>
                </a:solidFill>
              </a:defRPr>
            </a:lvl3pPr>
            <a:lvl4pPr>
              <a:defRPr sz="1795">
                <a:solidFill>
                  <a:srgbClr val="009BDB"/>
                </a:solidFill>
              </a:defRPr>
            </a:lvl4pPr>
            <a:lvl5pPr>
              <a:defRPr sz="1795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833585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394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6" y="2011306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9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9"/>
            <a:ext cx="2820471" cy="314495"/>
          </a:xfrm>
          <a:prstGeom prst="rect">
            <a:avLst/>
          </a:prstGeom>
        </p:spPr>
        <p:txBody>
          <a:bodyPr vert="horz" lIns="65971" tIns="32986" rIns="65971" bIns="3298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6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34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6" y="1740025"/>
            <a:ext cx="2827111" cy="261521"/>
          </a:xfrm>
          <a:prstGeom prst="rect">
            <a:avLst/>
          </a:prstGeom>
        </p:spPr>
        <p:txBody>
          <a:bodyPr vert="horz" lIns="65971" tIns="32986" rIns="65971" bIns="3298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4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4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6" y="4406776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96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328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0"/>
            </a:lvl1pPr>
            <a:lvl2pPr>
              <a:defRPr sz="1790"/>
            </a:lvl2pPr>
            <a:lvl3pPr>
              <a:defRPr sz="1790"/>
            </a:lvl3pPr>
            <a:lvl4pPr>
              <a:defRPr sz="1790"/>
            </a:lvl4pPr>
            <a:lvl5pPr>
              <a:defRPr sz="179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69048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A50_Anniv_Cov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152">
            <a:extLst>
              <a:ext uri="{FF2B5EF4-FFF2-40B4-BE49-F238E27FC236}">
                <a16:creationId xmlns:a16="http://schemas.microsoft.com/office/drawing/2014/main" id="{960121F7-1CD2-71F8-0B90-5C8370768987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7315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>
            <a:extLst>
              <a:ext uri="{FF2B5EF4-FFF2-40B4-BE49-F238E27FC236}">
                <a16:creationId xmlns:a16="http://schemas.microsoft.com/office/drawing/2014/main" id="{A605BAA6-580F-E111-25DC-23651EF28129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1831333" cy="38965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95">
                <a:latin typeface="NotesEsa" panose="02000506030000020004" pitchFamily="2" charset="77"/>
              </a:defRPr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BFCA6DB2-C437-2FC1-F026-FA323C58084C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5" y="3421831"/>
            <a:ext cx="11797247" cy="567399"/>
          </a:xfrm>
          <a:prstGeom prst="rect">
            <a:avLst/>
          </a:prstGeom>
        </p:spPr>
        <p:txBody>
          <a:bodyPr/>
          <a:lstStyle>
            <a:lvl1pPr>
              <a:defRPr sz="3989"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418624823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96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29200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225338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69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000" y="3421831"/>
            <a:ext cx="10625007" cy="567399"/>
          </a:xfrm>
          <a:prstGeom prst="rect">
            <a:avLst/>
          </a:prstGeom>
        </p:spPr>
        <p:txBody>
          <a:bodyPr/>
          <a:lstStyle>
            <a:lvl1pPr algn="l"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33582" y="5406990"/>
            <a:ext cx="227947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11453" y="6156809"/>
            <a:ext cx="22794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125001" y="5811879"/>
            <a:ext cx="914400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3200" y="6213933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495" y="6202800"/>
            <a:ext cx="291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pic>
        <p:nvPicPr>
          <p:cNvPr id="102" name="Picture 5">
            <a:extLst>
              <a:ext uri="{FF2B5EF4-FFF2-40B4-BE49-F238E27FC236}">
                <a16:creationId xmlns:a16="http://schemas.microsoft.com/office/drawing/2014/main" id="{EA088D67-7B06-4281-990B-01FE6467697E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9" y="647262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43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19D8A637-24D9-0C6D-FFBC-ADED51A552BB}"/>
              </a:ext>
            </a:extLst>
          </p:cNvPr>
          <p:cNvSpPr txBox="1"/>
          <p:nvPr userDrawn="1"/>
        </p:nvSpPr>
        <p:spPr>
          <a:xfrm>
            <a:off x="4822286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790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  <a:prstGeom prst="rect">
            <a:avLst/>
          </a:prstGeo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2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4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4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3" y="6584400"/>
            <a:ext cx="1638000" cy="1044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1990">
                <a:solidFill>
                  <a:schemeClr val="bg1"/>
                </a:solidFill>
              </a:defRPr>
            </a:lvl1pPr>
            <a:lvl2pPr>
              <a:defRPr sz="1990">
                <a:solidFill>
                  <a:schemeClr val="bg1"/>
                </a:solidFill>
              </a:defRPr>
            </a:lvl2pPr>
            <a:lvl3pPr>
              <a:defRPr sz="1990">
                <a:solidFill>
                  <a:schemeClr val="bg1"/>
                </a:solidFill>
              </a:defRPr>
            </a:lvl3pPr>
            <a:lvl4pPr>
              <a:defRPr sz="1990">
                <a:solidFill>
                  <a:schemeClr val="bg1"/>
                </a:solidFill>
              </a:defRPr>
            </a:lvl4pPr>
            <a:lvl5pPr>
              <a:defRPr sz="199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3914999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2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4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790"/>
            </a:lvl1pPr>
            <a:lvl2pPr>
              <a:defRPr sz="1790"/>
            </a:lvl2pPr>
            <a:lvl3pPr>
              <a:defRPr sz="1790"/>
            </a:lvl3pPr>
            <a:lvl4pPr>
              <a:defRPr sz="1790"/>
            </a:lvl4pPr>
            <a:lvl5pPr>
              <a:defRPr sz="179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091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29200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225338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69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000" y="3421831"/>
            <a:ext cx="10625007" cy="567399"/>
          </a:xfrm>
          <a:prstGeom prst="rect">
            <a:avLst/>
          </a:prstGeom>
        </p:spPr>
        <p:txBody>
          <a:bodyPr/>
          <a:lstStyle>
            <a:lvl1pPr algn="l"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33582" y="5406990"/>
            <a:ext cx="227947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11453" y="6156809"/>
            <a:ext cx="22794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125001" y="5811879"/>
            <a:ext cx="914400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3200" y="6213933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495" y="6202800"/>
            <a:ext cx="291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pic>
        <p:nvPicPr>
          <p:cNvPr id="102" name="Picture 5">
            <a:extLst>
              <a:ext uri="{FF2B5EF4-FFF2-40B4-BE49-F238E27FC236}">
                <a16:creationId xmlns:a16="http://schemas.microsoft.com/office/drawing/2014/main" id="{EA088D67-7B06-4281-990B-01FE6467697E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9" y="647262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917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9936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40396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19169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59" y="1673225"/>
            <a:ext cx="5804673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46597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730875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6762"/>
                </a:solidFill>
              </a:defRPr>
            </a:lvl1pPr>
            <a:lvl2pPr>
              <a:defRPr sz="1800">
                <a:solidFill>
                  <a:srgbClr val="006762"/>
                </a:solidFill>
              </a:defRPr>
            </a:lvl2pPr>
            <a:lvl3pPr>
              <a:defRPr sz="1800">
                <a:solidFill>
                  <a:srgbClr val="006762"/>
                </a:solidFill>
              </a:defRPr>
            </a:lvl3pPr>
            <a:lvl4pPr>
              <a:defRPr sz="1800">
                <a:solidFill>
                  <a:srgbClr val="006762"/>
                </a:solidFill>
              </a:defRPr>
            </a:lvl4pPr>
            <a:lvl5pPr>
              <a:defRPr sz="1800">
                <a:solidFill>
                  <a:srgbClr val="006762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64766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960136"/>
                </a:solidFill>
              </a:defRPr>
            </a:lvl1pPr>
            <a:lvl2pPr>
              <a:defRPr sz="1800">
                <a:solidFill>
                  <a:srgbClr val="960136"/>
                </a:solidFill>
              </a:defRPr>
            </a:lvl2pPr>
            <a:lvl3pPr>
              <a:defRPr sz="1800">
                <a:solidFill>
                  <a:srgbClr val="960136"/>
                </a:solidFill>
              </a:defRPr>
            </a:lvl3pPr>
            <a:lvl4pPr>
              <a:defRPr sz="1800">
                <a:solidFill>
                  <a:srgbClr val="960136"/>
                </a:solidFill>
              </a:defRPr>
            </a:lvl4pPr>
            <a:lvl5pPr>
              <a:defRPr sz="1800">
                <a:solidFill>
                  <a:srgbClr val="960136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37044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97317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A75534"/>
                </a:solidFill>
              </a:defRPr>
            </a:lvl1pPr>
            <a:lvl2pPr>
              <a:defRPr sz="1800">
                <a:solidFill>
                  <a:srgbClr val="A75534"/>
                </a:solidFill>
              </a:defRPr>
            </a:lvl2pPr>
            <a:lvl3pPr>
              <a:defRPr sz="1800">
                <a:solidFill>
                  <a:srgbClr val="A75534"/>
                </a:solidFill>
              </a:defRPr>
            </a:lvl3pPr>
            <a:lvl4pPr>
              <a:defRPr sz="1800">
                <a:solidFill>
                  <a:srgbClr val="A75534"/>
                </a:solidFill>
              </a:defRPr>
            </a:lvl4pPr>
            <a:lvl5pPr>
              <a:defRPr sz="1800">
                <a:solidFill>
                  <a:srgbClr val="A75534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883757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1E3378"/>
                </a:solidFill>
              </a:defRPr>
            </a:lvl1pPr>
            <a:lvl2pPr>
              <a:defRPr sz="1800">
                <a:solidFill>
                  <a:srgbClr val="1E3378"/>
                </a:solidFill>
              </a:defRPr>
            </a:lvl2pPr>
            <a:lvl3pPr>
              <a:defRPr sz="1800">
                <a:solidFill>
                  <a:srgbClr val="1E3378"/>
                </a:solidFill>
              </a:defRPr>
            </a:lvl3pPr>
            <a:lvl4pPr>
              <a:defRPr sz="1800">
                <a:solidFill>
                  <a:srgbClr val="1E3378"/>
                </a:solidFill>
              </a:defRPr>
            </a:lvl4pPr>
            <a:lvl5pPr>
              <a:defRPr sz="1800">
                <a:solidFill>
                  <a:srgbClr val="1E3378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5503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9664" y="0"/>
            <a:ext cx="12595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992365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 algn="l">
              <a:defRPr sz="2992"/>
            </a:lvl1pPr>
          </a:lstStyle>
          <a:p>
            <a:r>
              <a:rPr lang="en-US" altLang="en-US" noProof="0"/>
              <a:t>Click to edit Master title style</a:t>
            </a:r>
            <a:endParaRPr lang="en-GB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06BB45-4CD3-DB3B-9726-A08810DC9A2E}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082" y="6584400"/>
            <a:ext cx="1645884" cy="10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44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335912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335912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575010"/>
              </p:ext>
            </p:ext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761960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8989126" cy="4644616"/>
          </a:xfrm>
        </p:spPr>
        <p:txBody>
          <a:bodyPr/>
          <a:lstStyle>
            <a:lvl1pPr defTabSz="984250">
              <a:tabLst>
                <a:tab pos="536575" algn="l"/>
              </a:tabLst>
              <a:defRPr/>
            </a:lvl1pPr>
            <a:lvl2pPr>
              <a:tabLst>
                <a:tab pos="536575" algn="l"/>
              </a:tabLst>
              <a:defRPr/>
            </a:lvl2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C8AD-FACB-42EB-BD47-43AC2A002D15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939BEE7-204C-1008-67F3-C8FC6E64E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91944645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3761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9" y="6455300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03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51859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832011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71652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SA_dark_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B980304-C6DD-6A8F-370A-5CD7FAF915CC}"/>
              </a:ext>
            </a:extLst>
          </p:cNvPr>
          <p:cNvSpPr txBox="1"/>
          <p:nvPr/>
        </p:nvSpPr>
        <p:spPr>
          <a:xfrm>
            <a:off x="3929744" y="3189096"/>
            <a:ext cx="26813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>
                <a:solidFill>
                  <a:srgbClr val="8197A6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!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103AB9D-4033-450F-9AFB-12010B6E63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3" y="2864"/>
            <a:ext cx="12225339" cy="687675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42D570F-EE23-DE7E-513F-2E58F26D7A55}"/>
              </a:ext>
            </a:extLst>
          </p:cNvPr>
          <p:cNvSpPr/>
          <p:nvPr/>
        </p:nvSpPr>
        <p:spPr>
          <a:xfrm>
            <a:off x="-12107" y="874137"/>
            <a:ext cx="12237445" cy="6005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/>
        </p:nvSpPr>
        <p:spPr>
          <a:xfrm>
            <a:off x="1" y="-3783"/>
            <a:ext cx="12223866" cy="87211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>
              <a:solidFill>
                <a:schemeClr val="lt1">
                  <a:alpha val="60000"/>
                </a:schemeClr>
              </a:solidFill>
              <a:latin typeface="NotesEsa" panose="0200050603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F9B7DD-64EE-DD2E-D992-196E29F26BDC}"/>
              </a:ext>
            </a:extLst>
          </p:cNvPr>
          <p:cNvSpPr/>
          <p:nvPr/>
        </p:nvSpPr>
        <p:spPr>
          <a:xfrm>
            <a:off x="-12107" y="-4081"/>
            <a:ext cx="12226811" cy="878217"/>
          </a:xfrm>
          <a:prstGeom prst="rect">
            <a:avLst/>
          </a:prstGeom>
          <a:solidFill>
            <a:srgbClr val="01283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5940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663393E8-7604-477C-92ED-F503CA6D7EE9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3" y="6449087"/>
            <a:ext cx="9956800" cy="40513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5CBA911-477F-CE44-AC4A-3F282FDDD7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33F0627-D866-31EA-33CE-5754113E76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3736617"/>
      </p:ext>
    </p:extLst>
  </p:cSld>
  <p:clrMapOvr>
    <a:masterClrMapping/>
  </p:clrMapOvr>
  <p:hf hdr="0" dt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0" y="-1"/>
            <a:ext cx="12225338" cy="6858001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4" y="3421831"/>
            <a:ext cx="10625007" cy="567399"/>
          </a:xfrm>
          <a:prstGeom prst="rect">
            <a:avLst/>
          </a:prstGeom>
        </p:spPr>
        <p:txBody>
          <a:bodyPr/>
          <a:lstStyle>
            <a:lvl1pPr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">
            <a:extLst>
              <a:ext uri="{FF2B5EF4-FFF2-40B4-BE49-F238E27FC236}">
                <a16:creationId xmlns:a16="http://schemas.microsoft.com/office/drawing/2014/main" id="{33C1AA27-468E-4F19-A563-21152A310F35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4" y="645844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10407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>
            <a:extLst>
              <a:ext uri="{FF2B5EF4-FFF2-40B4-BE49-F238E27FC236}">
                <a16:creationId xmlns:a16="http://schemas.microsoft.com/office/drawing/2014/main" id="{E7E9920D-5148-4C5E-AF4F-672E07B42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">
            <a:extLst>
              <a:ext uri="{FF2B5EF4-FFF2-40B4-BE49-F238E27FC236}">
                <a16:creationId xmlns:a16="http://schemas.microsoft.com/office/drawing/2014/main" id="{75432A0F-AD37-4EDF-A3C9-9129332D7C90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4" y="645464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76521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9" y="6455300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34811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0905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878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4" y="1348840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6889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3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57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35113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851599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95142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27388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45419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335E6F"/>
                </a:solidFill>
              </a:defRPr>
            </a:lvl1pPr>
            <a:lvl2pPr>
              <a:defRPr sz="1800">
                <a:solidFill>
                  <a:srgbClr val="335E6F"/>
                </a:solidFill>
              </a:defRPr>
            </a:lvl2pPr>
            <a:lvl3pPr>
              <a:defRPr sz="1800">
                <a:solidFill>
                  <a:srgbClr val="335E6F"/>
                </a:solidFill>
              </a:defRPr>
            </a:lvl3pPr>
            <a:lvl4pPr>
              <a:defRPr sz="1800">
                <a:solidFill>
                  <a:srgbClr val="335E6F"/>
                </a:solidFill>
              </a:defRPr>
            </a:lvl4pPr>
            <a:lvl5pPr>
              <a:defRPr sz="1800">
                <a:solidFill>
                  <a:srgbClr val="335E6F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5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31039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76C8AE"/>
                </a:solidFill>
              </a:defRPr>
            </a:lvl1pPr>
            <a:lvl2pPr>
              <a:defRPr sz="1800">
                <a:solidFill>
                  <a:srgbClr val="76C8AE"/>
                </a:solidFill>
              </a:defRPr>
            </a:lvl2pPr>
            <a:lvl3pPr>
              <a:defRPr sz="1800">
                <a:solidFill>
                  <a:srgbClr val="76C8AE"/>
                </a:solidFill>
              </a:defRPr>
            </a:lvl3pPr>
            <a:lvl4pPr>
              <a:defRPr sz="1800">
                <a:solidFill>
                  <a:srgbClr val="76C8AE"/>
                </a:solidFill>
              </a:defRPr>
            </a:lvl4pPr>
            <a:lvl5pPr>
              <a:defRPr sz="1800">
                <a:solidFill>
                  <a:srgbClr val="76C8A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60560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295813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FFCC4E"/>
                </a:solidFill>
              </a:defRPr>
            </a:lvl1pPr>
            <a:lvl2pPr>
              <a:defRPr sz="1800">
                <a:solidFill>
                  <a:srgbClr val="FFCC4E"/>
                </a:solidFill>
              </a:defRPr>
            </a:lvl2pPr>
            <a:lvl3pPr>
              <a:defRPr sz="1800">
                <a:solidFill>
                  <a:srgbClr val="FFCC4E"/>
                </a:solidFill>
              </a:defRPr>
            </a:lvl3pPr>
            <a:lvl4pPr>
              <a:defRPr sz="1800">
                <a:solidFill>
                  <a:srgbClr val="FFCC4E"/>
                </a:solidFill>
              </a:defRPr>
            </a:lvl4pPr>
            <a:lvl5pPr>
              <a:defRPr sz="1800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16389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21037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405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59" y="1673225"/>
            <a:ext cx="5804673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2598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7941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Kreis, Screenshot, Raum, Weltraum enthält.&#10;&#10;KI-generierte Inhalte können fehlerhaft sein.">
            <a:extLst>
              <a:ext uri="{FF2B5EF4-FFF2-40B4-BE49-F238E27FC236}">
                <a16:creationId xmlns:a16="http://schemas.microsoft.com/office/drawing/2014/main" id="{2BD6C76B-9648-469A-7608-008C2EC8BA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5"/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46D207-7A3C-9CB6-9F94-5B8142795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5456" y="1640155"/>
            <a:ext cx="7464084" cy="2387600"/>
          </a:xfrm>
        </p:spPr>
        <p:txBody>
          <a:bodyPr lIns="0" tIns="0" rIns="0" bIns="0" anchor="b"/>
          <a:lstStyle>
            <a:lvl1pPr algn="l">
              <a:defRPr sz="6000" b="1" i="0"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76348-6CE9-2974-A3AC-4B22BD6D24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5455" y="4235669"/>
            <a:ext cx="7541413" cy="1539923"/>
          </a:xfrm>
        </p:spPr>
        <p:txBody>
          <a:bodyPr lIns="36000" tIns="0" rIns="0" bIns="0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tesEsa" panose="02000506030000020004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8500386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11B163-D4C3-B868-EF6A-0A693B352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2A171D-78B7-5D7C-18FA-1F790D7AE1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9F008A-3E43-9BED-AC0B-1A149946AB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4439B3-346F-4FAF-C47B-C5DCF129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0A316-4C0A-8367-FC3D-D09C1E304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355616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2A66DB-1E6F-845B-F25E-9F65EF6AA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25" y="1709738"/>
            <a:ext cx="10544354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4E2F74-087C-4FB1-964A-D903806AE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4125" y="4589464"/>
            <a:ext cx="10544354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B351BB-6D12-CBED-950A-2961990494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1FBC56-09EA-2B69-650C-26C34627C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C5EEB2-CCE8-A52D-3C42-FBA02036A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5598286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176BB-B443-699E-2DF8-54754A9C4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734D86-CCFF-870F-0B16-2F574D5C98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0492" y="1825625"/>
            <a:ext cx="519576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F76246-B5BE-0A2A-56FB-BF96F91D2B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9077" y="1825625"/>
            <a:ext cx="519576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1E1F93-DD28-29DD-7B3D-F603474CD4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BBF440-2FA9-32C7-837C-5CCD8A280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74DC05-DA3D-9611-E1D0-B5D907867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473855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4DAE2-8FDF-87F3-B893-43B97571B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084" y="365126"/>
            <a:ext cx="10544354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E6C7A-9BF0-D0CE-2A6D-6C454556B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2085" y="1681163"/>
            <a:ext cx="51718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0D016-5872-2678-BAA4-18804BD7D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2085" y="2842351"/>
            <a:ext cx="5171891" cy="3347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8BDDB0-C533-793E-37FA-05E96CB669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89077" y="1681163"/>
            <a:ext cx="519736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E8C382A-A35D-D3F7-7BC0-2E87C9AFE9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89077" y="2842352"/>
            <a:ext cx="5197361" cy="3347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9AEFF8-E4BC-3698-965B-CB43A4E885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A71E63-7425-2E84-EF43-D0C08A039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8D73BE-FF26-63F1-7E42-2970ACE2A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9421800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91328-11DF-A0D0-EC71-AD56A0ACB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9B8B08-7F5E-F244-BE68-33C9586597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9B9187-4E2D-487E-5004-326701218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4FDD9A-5D1E-9D21-6B4A-B7AD1888A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20824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BBF97349-A0AD-EEEF-9CDB-C5A1BC2D9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247"/>
                </a:solidFill>
              </a:defRPr>
            </a:lvl1pPr>
          </a:lstStyle>
          <a:p>
            <a:r>
              <a:rPr lang="de-CH"/>
              <a:t>May 27th, 2025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8C70387-8836-E500-C332-39076BEA2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450941"/>
            <a:ext cx="4126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47"/>
                </a:solidFill>
              </a:defRPr>
            </a:lvl1pPr>
          </a:lstStyle>
          <a:p>
            <a:r>
              <a:rPr lang="de-CH"/>
              <a:t>ESDI Opening </a:t>
            </a:r>
            <a:r>
              <a:rPr lang="de-CH" err="1"/>
              <a:t>Ceremony</a:t>
            </a:r>
            <a:endParaRPr lang="de-CH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7EBDCF9F-8293-11A7-27F2-B8B7BE0E7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3247"/>
                </a:solidFill>
              </a:defRPr>
            </a:lvl1pPr>
          </a:lstStyle>
          <a:p>
            <a:fld id="{5DCD708D-94E2-415E-8D4E-E75F2123ACD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14562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343A1-0D65-6F97-3ECF-4A296F73D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085" y="457200"/>
            <a:ext cx="394298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869C10-D882-C68B-5424-0D10D6C12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7361" y="987426"/>
            <a:ext cx="618907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236A77-EDB3-8B2D-18D9-B28E60D4CF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2085" y="2057400"/>
            <a:ext cx="394298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B62174-C6BF-41C6-8414-496088A0F3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0EBD5C-8DBE-251D-4E33-D1DA9B737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984CC8-8065-4FD5-A697-DFFB5E5E4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439724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1415C-27FF-BB85-B963-D3E751982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085" y="457200"/>
            <a:ext cx="394298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BAD772-DDB4-64C2-0F97-B62DD88F2C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97361" y="987426"/>
            <a:ext cx="618907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19E650-129B-F4BB-9535-BBA194F813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2085" y="2057400"/>
            <a:ext cx="394298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919B23-8E5B-9A51-B0F8-8BC4522C0B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54C3B8-E3A4-80CD-A552-29B060247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7F9228-DB21-CF04-002E-DFF2EDFC7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7803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50020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14F06-0D26-2188-7033-611723DD0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F60DCD-341B-59EE-314F-F00A7D1537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290C4-9B3C-3120-DC88-1F602941B5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AD9003-679F-94C0-8D23-7F1F8162D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A7FF2A-40AF-6D75-DCD3-4DE56290C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229950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078925-DDA5-E0FB-0E52-66554FC4CB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48757" y="365125"/>
            <a:ext cx="2636089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203805-99E8-9FB7-0C59-788020379B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40492" y="365125"/>
            <a:ext cx="775544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94C910-2252-A083-E2CC-CD065AB75F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0492" y="6373546"/>
            <a:ext cx="2750701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7B879A-98B1-701B-FCF8-336DF730D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643" y="6356351"/>
            <a:ext cx="4126052" cy="365125"/>
          </a:xfrm>
          <a:prstGeom prst="rect">
            <a:avLst/>
          </a:prstGeom>
        </p:spPr>
        <p:txBody>
          <a:bodyPr/>
          <a:lstStyle/>
          <a:p>
            <a:r>
              <a:rPr lang="de-CH"/>
              <a:t>ESDI Opening Ceremon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F107D1-B89B-10E6-BAE3-B67A04692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4145" y="6356351"/>
            <a:ext cx="2750701" cy="365125"/>
          </a:xfrm>
          <a:prstGeom prst="rect">
            <a:avLst/>
          </a:prstGeom>
        </p:spPr>
        <p:txBody>
          <a:bodyPr/>
          <a:lstStyle/>
          <a:p>
            <a:fld id="{5DCD708D-94E2-415E-8D4E-E75F2123ACD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45728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90867-235E-01F8-B6B1-5E7EC9E3B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</a:t>
            </a:r>
            <a:r>
              <a:rPr lang="en-GB" err="1"/>
              <a:t>sty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4333EC-EA59-2FA1-D8E8-380749E03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May 27th,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93E27D-2CF5-AC00-98CB-3171F08C42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CD708D-94E2-415E-8D4E-E75F2123ACD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78296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2"/>
            <a:ext cx="12302860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1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1" y="160401"/>
            <a:ext cx="10108800" cy="553998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5743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6762"/>
                </a:solidFill>
              </a:defRPr>
            </a:lvl1pPr>
            <a:lvl2pPr>
              <a:defRPr sz="1800">
                <a:solidFill>
                  <a:srgbClr val="006762"/>
                </a:solidFill>
              </a:defRPr>
            </a:lvl2pPr>
            <a:lvl3pPr>
              <a:defRPr sz="1800">
                <a:solidFill>
                  <a:srgbClr val="006762"/>
                </a:solidFill>
              </a:defRPr>
            </a:lvl3pPr>
            <a:lvl4pPr>
              <a:defRPr sz="1800">
                <a:solidFill>
                  <a:srgbClr val="006762"/>
                </a:solidFill>
              </a:defRPr>
            </a:lvl4pPr>
            <a:lvl5pPr>
              <a:defRPr sz="1800">
                <a:solidFill>
                  <a:srgbClr val="006762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112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960136"/>
                </a:solidFill>
              </a:defRPr>
            </a:lvl1pPr>
            <a:lvl2pPr>
              <a:defRPr sz="1800">
                <a:solidFill>
                  <a:srgbClr val="960136"/>
                </a:solidFill>
              </a:defRPr>
            </a:lvl2pPr>
            <a:lvl3pPr>
              <a:defRPr sz="1800">
                <a:solidFill>
                  <a:srgbClr val="960136"/>
                </a:solidFill>
              </a:defRPr>
            </a:lvl3pPr>
            <a:lvl4pPr>
              <a:defRPr sz="1800">
                <a:solidFill>
                  <a:srgbClr val="960136"/>
                </a:solidFill>
              </a:defRPr>
            </a:lvl4pPr>
            <a:lvl5pPr>
              <a:defRPr sz="1800">
                <a:solidFill>
                  <a:srgbClr val="960136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44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AAC5E67-E08A-4CAC-8F4D-A2D8638C2B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2361E30E-1C22-46B3-9AB9-AB1BC0D7C98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9" y="6455300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154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A75534"/>
                </a:solidFill>
              </a:defRPr>
            </a:lvl1pPr>
            <a:lvl2pPr>
              <a:defRPr sz="1800">
                <a:solidFill>
                  <a:srgbClr val="A75534"/>
                </a:solidFill>
              </a:defRPr>
            </a:lvl2pPr>
            <a:lvl3pPr>
              <a:defRPr sz="1800">
                <a:solidFill>
                  <a:srgbClr val="A75534"/>
                </a:solidFill>
              </a:defRPr>
            </a:lvl3pPr>
            <a:lvl4pPr>
              <a:defRPr sz="1800">
                <a:solidFill>
                  <a:srgbClr val="A75534"/>
                </a:solidFill>
              </a:defRPr>
            </a:lvl4pPr>
            <a:lvl5pPr>
              <a:defRPr sz="1800">
                <a:solidFill>
                  <a:srgbClr val="A75534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7691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1E3378"/>
                </a:solidFill>
              </a:defRPr>
            </a:lvl1pPr>
            <a:lvl2pPr>
              <a:defRPr sz="1800">
                <a:solidFill>
                  <a:srgbClr val="1E3378"/>
                </a:solidFill>
              </a:defRPr>
            </a:lvl2pPr>
            <a:lvl3pPr>
              <a:defRPr sz="1800">
                <a:solidFill>
                  <a:srgbClr val="1E3378"/>
                </a:solidFill>
              </a:defRPr>
            </a:lvl3pPr>
            <a:lvl4pPr>
              <a:defRPr sz="1800">
                <a:solidFill>
                  <a:srgbClr val="1E3378"/>
                </a:solidFill>
              </a:defRPr>
            </a:lvl4pPr>
            <a:lvl5pPr>
              <a:defRPr sz="1800">
                <a:solidFill>
                  <a:srgbClr val="1E3378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7368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9664" y="0"/>
            <a:ext cx="12595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7404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 b="0" i="0">
                <a:latin typeface="NotesEsa" panose="02000506030000020004" pitchFamily="2" charset="77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92705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 b="0" i="0">
                <a:latin typeface="NotesEsa" panose="02000506030000020004" pitchFamily="2" charset="77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927052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575010"/>
              </p:ext>
            </p:extLst>
          </p:nvPr>
        </p:nvGraphicFramePr>
        <p:xfrm>
          <a:off x="1593" y="1588"/>
          <a:ext cx="1592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92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9184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8"/>
              </a:spcBef>
              <a:spcAft>
                <a:spcPts val="298"/>
              </a:spcAft>
            </a:pPr>
            <a:endParaRPr lang="en-US" sz="248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6253" y="172212"/>
            <a:ext cx="9552573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53" y="919254"/>
            <a:ext cx="1111283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42697" y="6295138"/>
            <a:ext cx="32639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7450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96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7450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96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6252" y="41602"/>
            <a:ext cx="3853847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9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E974C3E-D876-B228-6CEC-68A59AF322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6252" y="6295138"/>
            <a:ext cx="729776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298"/>
              </a:spcBef>
              <a:spcAft>
                <a:spcPts val="298"/>
              </a:spcAft>
              <a:buNone/>
            </a:pPr>
            <a:r>
              <a:rPr lang="en-US" sz="796" b="0" i="0">
                <a:latin typeface="NotesEsa" panose="02000506030000020004" pitchFamily="2" charset="77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927052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8989126" cy="4644616"/>
          </a:xfrm>
        </p:spPr>
        <p:txBody>
          <a:bodyPr/>
          <a:lstStyle>
            <a:lvl1pPr defTabSz="984250">
              <a:tabLst>
                <a:tab pos="536575" algn="l"/>
              </a:tabLst>
              <a:defRPr/>
            </a:lvl1pPr>
            <a:lvl2pPr>
              <a:tabLst>
                <a:tab pos="536575" algn="l"/>
              </a:tabLst>
              <a:defRPr/>
            </a:lvl2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NotesEsa" panose="02000506030000020004" pitchFamily="2" charset="77"/>
              </a:defRPr>
            </a:lvl1pPr>
          </a:lstStyle>
          <a:p>
            <a:fld id="{AD19C8AD-FACB-42EB-BD47-43AC2A002D15}" type="datetime1">
              <a:rPr lang="de-CH" smtClean="0"/>
              <a:pPr/>
              <a:t>19.01.26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NotesEsa" panose="02000506030000020004" pitchFamily="2" charset="77"/>
              </a:defRPr>
            </a:lvl1pPr>
          </a:lstStyle>
          <a:p>
            <a:r>
              <a:rPr lang="en-GB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NotesEsa" panose="02000506030000020004" pitchFamily="2" charset="77"/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939BEE7-204C-1008-67F3-C8FC6E64E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02176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160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45872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6783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79E19F2-F57B-45DE-B862-DD01F0612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3656F8C5-B6A5-414F-86D9-8C977E5C1BBD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8" y="645883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6598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PS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0" y="1559"/>
            <a:ext cx="12222558" cy="685488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854"/>
            <a:ext cx="8067451" cy="200799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35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Blu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8" y="1948"/>
            <a:ext cx="12223949" cy="68556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464"/>
            <a:ext cx="8067451" cy="200838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564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86F663E-A62D-0CAD-5737-A11BE4D02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8" y="1948"/>
            <a:ext cx="12223949" cy="68556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5464"/>
            <a:ext cx="8067451" cy="2008384"/>
          </a:xfrm>
        </p:spPr>
        <p:txBody>
          <a:bodyPr anchor="b"/>
          <a:lstStyle>
            <a:lvl1pPr algn="l">
              <a:lnSpc>
                <a:spcPct val="92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8067451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863" y="358671"/>
            <a:ext cx="1778670" cy="73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06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Re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BDEC662-E6F5-15D3-BB36-ED6F08201703}"/>
              </a:ext>
            </a:extLst>
          </p:cNvPr>
          <p:cNvSpPr/>
          <p:nvPr userDrawn="1"/>
        </p:nvSpPr>
        <p:spPr>
          <a:xfrm>
            <a:off x="0" y="0"/>
            <a:ext cx="12225338" cy="5049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9388"/>
            <a:ext cx="5307198" cy="2004460"/>
          </a:xfrm>
        </p:spPr>
        <p:txBody>
          <a:bodyPr anchor="b"/>
          <a:lstStyle>
            <a:lvl1pPr algn="l">
              <a:lnSpc>
                <a:spcPct val="92000"/>
              </a:lnSpc>
              <a:defRPr sz="4200"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5307198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1" y="358671"/>
            <a:ext cx="1778675" cy="730070"/>
          </a:xfrm>
          <a:prstGeom prst="rect">
            <a:avLst/>
          </a:prstGeom>
        </p:spPr>
      </p:pic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918345C2-B555-CE5A-CF14-EC753A31ED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0913" y="549276"/>
            <a:ext cx="5090709" cy="543600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926876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A4A3A4"/>
          </p15:clr>
        </p15:guide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BDEC662-E6F5-15D3-BB36-ED6F08201703}"/>
              </a:ext>
            </a:extLst>
          </p:cNvPr>
          <p:cNvSpPr/>
          <p:nvPr userDrawn="1"/>
        </p:nvSpPr>
        <p:spPr>
          <a:xfrm>
            <a:off x="0" y="0"/>
            <a:ext cx="12225338" cy="5049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9388"/>
            <a:ext cx="5307198" cy="2004460"/>
          </a:xfrm>
        </p:spPr>
        <p:txBody>
          <a:bodyPr anchor="b"/>
          <a:lstStyle>
            <a:lvl1pPr algn="l">
              <a:lnSpc>
                <a:spcPct val="92000"/>
              </a:lnSpc>
              <a:defRPr sz="4200"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5307198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1" y="358671"/>
            <a:ext cx="1778675" cy="730070"/>
          </a:xfrm>
          <a:prstGeom prst="rect">
            <a:avLst/>
          </a:prstGeom>
        </p:spPr>
      </p:pic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918345C2-B555-CE5A-CF14-EC753A31ED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0913" y="549276"/>
            <a:ext cx="5090709" cy="543600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2071486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A4A3A4"/>
          </p15:clr>
        </p15:guide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BDEC662-E6F5-15D3-BB36-ED6F08201703}"/>
              </a:ext>
            </a:extLst>
          </p:cNvPr>
          <p:cNvSpPr/>
          <p:nvPr userDrawn="1"/>
        </p:nvSpPr>
        <p:spPr>
          <a:xfrm>
            <a:off x="0" y="0"/>
            <a:ext cx="12225338" cy="5049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9388"/>
            <a:ext cx="5307198" cy="2004460"/>
          </a:xfrm>
        </p:spPr>
        <p:txBody>
          <a:bodyPr anchor="b"/>
          <a:lstStyle>
            <a:lvl1pPr algn="l">
              <a:lnSpc>
                <a:spcPct val="92000"/>
              </a:lnSpc>
              <a:defRPr sz="4200"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5307198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1" y="358671"/>
            <a:ext cx="1778675" cy="730070"/>
          </a:xfrm>
          <a:prstGeom prst="rect">
            <a:avLst/>
          </a:prstGeom>
        </p:spPr>
      </p:pic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918345C2-B555-CE5A-CF14-EC753A31ED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0913" y="549276"/>
            <a:ext cx="5090709" cy="543600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734390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A4A3A4"/>
          </p15:clr>
        </p15:guide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Pin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BDEC662-E6F5-15D3-BB36-ED6F08201703}"/>
              </a:ext>
            </a:extLst>
          </p:cNvPr>
          <p:cNvSpPr/>
          <p:nvPr userDrawn="1"/>
        </p:nvSpPr>
        <p:spPr>
          <a:xfrm>
            <a:off x="0" y="0"/>
            <a:ext cx="12225338" cy="5049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97227" y="1449388"/>
            <a:ext cx="5307198" cy="2004460"/>
          </a:xfrm>
        </p:spPr>
        <p:txBody>
          <a:bodyPr anchor="b"/>
          <a:lstStyle>
            <a:lvl1pPr algn="l">
              <a:lnSpc>
                <a:spcPct val="92000"/>
              </a:lnSpc>
              <a:defRPr sz="4200"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97227" y="3789040"/>
            <a:ext cx="5307198" cy="1080120"/>
          </a:xfrm>
        </p:spPr>
        <p:txBody>
          <a:bodyPr/>
          <a:lstStyle>
            <a:lvl1pPr marL="0" indent="0" algn="l">
              <a:lnSpc>
                <a:spcPct val="92000"/>
              </a:lnSpc>
              <a:buNone/>
              <a:defRPr sz="2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Add Subtit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8F03BE3-7C85-C716-E994-40806F5A84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5841268"/>
            <a:ext cx="5307198" cy="288032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BB6EAADF-428F-C6D8-43A9-FBCA196FE9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7227" y="6129300"/>
            <a:ext cx="5307198" cy="252028"/>
          </a:xfrm>
        </p:spPr>
        <p:txBody>
          <a:bodyPr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/>
              <a:t>Location, DD Month YYY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01D5720-24EF-D102-D260-2D0ECB313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1" y="358671"/>
            <a:ext cx="1778675" cy="730070"/>
          </a:xfrm>
          <a:prstGeom prst="rect">
            <a:avLst/>
          </a:prstGeom>
        </p:spPr>
      </p:pic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918345C2-B555-CE5A-CF14-EC753A31ED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0913" y="549276"/>
            <a:ext cx="5090709" cy="543600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2124289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A4A3A4"/>
          </p15:clr>
        </p15:guide>
        <p15:guide id="2" pos="7106">
          <p15:clr>
            <a:srgbClr val="A4A3A4"/>
          </p15:clr>
        </p15:guide>
        <p15:guide id="3" orient="horz" pos="318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ing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280026-4D3D-4BB6-870B-30FF1976DEAA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A5E6FE-0D37-3DFF-F3B7-73A91BE846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1292087"/>
            <a:ext cx="8989126" cy="4729302"/>
          </a:xfrm>
        </p:spPr>
        <p:txBody>
          <a:bodyPr/>
          <a:lstStyle>
            <a:lvl1pPr>
              <a:defRPr sz="42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250825" indent="-250825"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ection Heading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26DA47E-D7F3-07E8-00B3-57D325A00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4161" y="305378"/>
            <a:ext cx="883875" cy="362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0658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ing Re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A1C21-6E2E-43CB-A499-6F26BA3D2867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A5E6FE-0D37-3DFF-F3B7-73A91BE846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1292087"/>
            <a:ext cx="8989126" cy="4729302"/>
          </a:xfrm>
        </p:spPr>
        <p:txBody>
          <a:bodyPr/>
          <a:lstStyle>
            <a:lvl1pPr>
              <a:defRPr sz="42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250825" indent="-250825"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ection Heading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26DA47E-D7F3-07E8-00B3-57D325A00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44161" y="305378"/>
            <a:ext cx="883875" cy="362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734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CF64D-4957-4F7C-BD78-A4D83F0A624E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A5E6FE-0D37-3DFF-F3B7-73A91BE846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1292087"/>
            <a:ext cx="8989126" cy="4729302"/>
          </a:xfrm>
        </p:spPr>
        <p:txBody>
          <a:bodyPr/>
          <a:lstStyle>
            <a:lvl1pPr>
              <a:defRPr sz="4200"/>
            </a:lvl1pPr>
            <a:lvl2pPr marL="0" indent="0">
              <a:buFontTx/>
              <a:buNone/>
              <a:defRPr/>
            </a:lvl2pPr>
            <a:lvl3pPr marL="250825" indent="-250825">
              <a:defRPr/>
            </a:lvl3pPr>
          </a:lstStyle>
          <a:p>
            <a:pPr lvl="0"/>
            <a:r>
              <a:rPr lang="en-GB" noProof="0"/>
              <a:t>Section Heading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8865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2785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 Yellow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802A9-8AB4-4B62-9FE7-C79B93CE721D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A5E6FE-0D37-3DFF-F3B7-73A91BE846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227" y="1292087"/>
            <a:ext cx="8989126" cy="4729302"/>
          </a:xfrm>
        </p:spPr>
        <p:txBody>
          <a:bodyPr/>
          <a:lstStyle>
            <a:lvl1pPr>
              <a:defRPr sz="4200"/>
            </a:lvl1pPr>
            <a:lvl2pPr marL="0" indent="0">
              <a:buFontTx/>
              <a:buNone/>
              <a:defRPr/>
            </a:lvl2pPr>
            <a:lvl3pPr marL="250825" indent="-250825">
              <a:defRPr/>
            </a:lvl3pPr>
          </a:lstStyle>
          <a:p>
            <a:pPr lvl="0"/>
            <a:r>
              <a:rPr lang="en-GB" noProof="0"/>
              <a:t>Section Heading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529664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8989126" cy="4644616"/>
          </a:xfrm>
        </p:spPr>
        <p:txBody>
          <a:bodyPr/>
          <a:lstStyle>
            <a:lvl1pPr defTabSz="984250">
              <a:tabLst>
                <a:tab pos="536575" algn="l"/>
              </a:tabLst>
              <a:defRPr/>
            </a:lvl1pPr>
            <a:lvl2pPr>
              <a:tabLst>
                <a:tab pos="536575" algn="l"/>
              </a:tabLst>
              <a:defRPr/>
            </a:lvl2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C8AD-FACB-42EB-BD47-43AC2A002D15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939BEE7-204C-1008-67F3-C8FC6E64E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6927945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xtra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10830884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CDF8E-15EE-4C89-A25F-47FDE8A89584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946932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5305945" cy="4644616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62ED3-1367-4CE8-935E-77100ADA2DEE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03327075-DC64-5DAB-E02B-8A18CBF5A99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2169" y="1376773"/>
            <a:ext cx="5305943" cy="4644616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026939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530719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C05D5-C686-4B58-8276-61F5057D6EED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0912" y="1449389"/>
            <a:ext cx="5307198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5520753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20914" y="1376773"/>
            <a:ext cx="5307197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B2E83-E6E1-49CF-8B1D-15A02C0E0489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7227" y="1449389"/>
            <a:ext cx="5307197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3891901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024D5AC-18B7-42A0-8763-5161D9B6B2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7227" y="1449389"/>
            <a:ext cx="8989126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EB216CB-AE9D-4C01-AD48-4B791587519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253974-7A2B-43F7-9AAB-82AE61FB7BDA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E67269-0443-40A6-8D53-CF9C30AE72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D2179C-3288-47A5-A587-1B7255A2C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34035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CD10-FCBE-4A1D-801A-0EE6CE358A47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7227" y="1449390"/>
            <a:ext cx="5307197" cy="45719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17580FB4-DD13-1B0D-5A9E-15F0A7CB6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0912" y="1449390"/>
            <a:ext cx="5307198" cy="45719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6142765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09603-F37E-48A7-8BE4-E9FAC5D076F0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5" y="1449389"/>
            <a:ext cx="7148956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99B93C7-FD88-F860-2772-AA3BFEC82D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346543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41875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F506-EBC5-4FA6-B2E1-2CAEE530F8EF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6" y="1449389"/>
            <a:ext cx="3467029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FB98D413-4196-B49D-71B4-7CED7EED69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89"/>
            <a:ext cx="3465436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5A45EC1-6C70-C75B-70A0-557B1FE6DA3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346543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585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4" y="1348840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189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D9123-BDD9-4403-A840-EAF8128283BA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6" y="1449388"/>
            <a:ext cx="3467029" cy="217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FB98D413-4196-B49D-71B4-7CED7EED69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89"/>
            <a:ext cx="3465436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DF6C985-A691-B0CD-8A11-7C955F3245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79156" y="3843389"/>
            <a:ext cx="3467029" cy="217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772A35F-591D-5A80-72BC-28B068C3A5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346543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278686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FF420-CEEB-427A-A025-0EEBD06833F6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6" y="1449388"/>
            <a:ext cx="3467029" cy="217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FB98D413-4196-B49D-71B4-7CED7EED69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90"/>
            <a:ext cx="3465436" cy="21779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DF6C985-A691-B0CD-8A11-7C955F3245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79156" y="3843389"/>
            <a:ext cx="3467029" cy="217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CE065AA4-86F5-4BAD-ED9D-98129FDEFEF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2675" y="3843388"/>
            <a:ext cx="3465436" cy="217800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089D7F61-76FC-5B15-D914-2BB427BF71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346543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71865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9F46A-CD84-4EA9-A8B7-968C8FE43CC2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ED849DD-27BF-60D5-0E2A-BC6C9A827A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714895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8CA68BBC-536B-0C49-B239-F2A8A8ACBA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89"/>
            <a:ext cx="3465436" cy="45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8550365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wid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9520A-F980-4931-A46C-82E8E834FBA6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FB98D413-4196-B49D-71B4-7CED7EED69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90"/>
            <a:ext cx="3465436" cy="21779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CE065AA4-86F5-4BAD-ED9D-98129FDEFEF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2675" y="3843388"/>
            <a:ext cx="3465436" cy="217800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ED849DD-27BF-60D5-0E2A-BC6C9A827A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1376773"/>
            <a:ext cx="7148958" cy="464461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116229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7AA79-3162-4E10-AA39-D0248AEB6076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7227" y="1449390"/>
            <a:ext cx="5307197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17580FB4-DD13-1B0D-5A9E-15F0A7CB6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0912" y="1449390"/>
            <a:ext cx="5307198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47A0213-C397-B258-EE3A-69DBB54DD3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7" y="4553982"/>
            <a:ext cx="5305945" cy="1467406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E0905A-F588-783E-2408-3EEBCC47B7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22169" y="4553982"/>
            <a:ext cx="5305943" cy="1467406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47691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DE5E1-006F-42D4-ABF6-4421AF14DA08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6" y="1449388"/>
            <a:ext cx="3467029" cy="2987724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11B3F6C3-759F-AE0A-F24C-FF78D18C5F8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7228" y="4545124"/>
            <a:ext cx="3465437" cy="1476265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FB98D413-4196-B49D-71B4-7CED7EED69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90"/>
            <a:ext cx="3465436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DF6C985-A691-B0CD-8A11-7C955F3245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7227" y="1449388"/>
            <a:ext cx="3467029" cy="2987724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982B28-131F-0EF1-DBEF-7E5426DA6F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80748" y="4545124"/>
            <a:ext cx="3465437" cy="1476265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3A5C3130-D9C4-9998-9902-8B054B64116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062675" y="4545124"/>
            <a:ext cx="3465437" cy="1476265"/>
          </a:xfrm>
        </p:spPr>
        <p:txBody>
          <a:bodyPr tIns="18000"/>
          <a:lstStyle>
            <a:lvl1pPr>
              <a:spcBef>
                <a:spcPts val="400"/>
              </a:spcBef>
              <a:defRPr sz="1600"/>
            </a:lvl1pPr>
            <a:lvl2pPr marL="179388" indent="-179388">
              <a:spcBef>
                <a:spcPts val="400"/>
              </a:spcBef>
              <a:defRPr sz="1600"/>
            </a:lvl2pPr>
            <a:lvl3pPr marL="360363" indent="-180975">
              <a:spcBef>
                <a:spcPts val="400"/>
              </a:spcBef>
              <a:defRPr sz="1600"/>
            </a:lvl3pPr>
            <a:lvl4pPr>
              <a:defRPr sz="1600"/>
            </a:lvl4pPr>
            <a:lvl5pPr>
              <a:defRPr sz="1600"/>
            </a:lvl5pPr>
            <a:lvl6pPr marL="2286000" indent="0">
              <a:buNone/>
              <a:defRPr/>
            </a:lvl6pPr>
          </a:lstStyle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21917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75AC-8901-4370-9802-77EBE44319E7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12784F6E-FB73-D6E4-8C2C-41F75D7C72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228" y="1449390"/>
            <a:ext cx="2544940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EA8E577-195E-4B1A-BC32-FE3D591B8C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983170" y="1449390"/>
            <a:ext cx="2544940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646FBB3-9915-B3D3-1716-7B2E4AB38A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59484" y="1449390"/>
            <a:ext cx="2544940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3FC8EB0-667A-22B3-F4B0-8DFF6865569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0914" y="1449390"/>
            <a:ext cx="2544940" cy="298772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2B3EE353-935F-47F2-890E-86D599D69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226" y="4545014"/>
            <a:ext cx="2540578" cy="1476375"/>
          </a:xfrm>
        </p:spPr>
        <p:txBody>
          <a:bodyPr/>
          <a:lstStyle>
            <a:lvl1pPr>
              <a:spcBef>
                <a:spcPts val="40"/>
              </a:spcBef>
              <a:defRPr sz="1600"/>
            </a:lvl1pPr>
            <a:lvl2pPr marL="179388" indent="-179388">
              <a:spcBef>
                <a:spcPts val="40"/>
              </a:spcBef>
              <a:defRPr sz="1600"/>
            </a:lvl2pPr>
            <a:lvl3pPr marL="360363" indent="-180975">
              <a:spcBef>
                <a:spcPts val="40"/>
              </a:spcBef>
              <a:defRPr sz="16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7650EC49-433E-6552-2740-6B65EFF9480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8539" y="4545014"/>
            <a:ext cx="2540578" cy="1476375"/>
          </a:xfrm>
        </p:spPr>
        <p:txBody>
          <a:bodyPr/>
          <a:lstStyle>
            <a:lvl1pPr>
              <a:spcBef>
                <a:spcPts val="40"/>
              </a:spcBef>
              <a:defRPr sz="1600"/>
            </a:lvl1pPr>
            <a:lvl2pPr marL="179388" indent="-179388">
              <a:spcBef>
                <a:spcPts val="40"/>
              </a:spcBef>
              <a:defRPr sz="1600"/>
            </a:lvl2pPr>
            <a:lvl3pPr marL="360363" indent="-180975">
              <a:spcBef>
                <a:spcPts val="40"/>
              </a:spcBef>
              <a:defRPr sz="16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38A397CC-14F5-DD8F-565D-CB576CCEF0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9852" y="4545014"/>
            <a:ext cx="2540578" cy="1476375"/>
          </a:xfrm>
        </p:spPr>
        <p:txBody>
          <a:bodyPr/>
          <a:lstStyle>
            <a:lvl1pPr>
              <a:spcBef>
                <a:spcPts val="40"/>
              </a:spcBef>
              <a:defRPr sz="1600"/>
            </a:lvl1pPr>
            <a:lvl2pPr marL="179388" indent="-179388">
              <a:spcBef>
                <a:spcPts val="40"/>
              </a:spcBef>
              <a:defRPr sz="1600"/>
            </a:lvl2pPr>
            <a:lvl3pPr marL="360363" indent="-180975">
              <a:spcBef>
                <a:spcPts val="40"/>
              </a:spcBef>
              <a:defRPr sz="16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52C714DB-CD94-62D4-DBCC-363F77E96B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1166" y="4545014"/>
            <a:ext cx="2540578" cy="1476375"/>
          </a:xfrm>
        </p:spPr>
        <p:txBody>
          <a:bodyPr/>
          <a:lstStyle>
            <a:lvl1pPr>
              <a:spcBef>
                <a:spcPts val="40"/>
              </a:spcBef>
              <a:defRPr sz="1600"/>
            </a:lvl1pPr>
            <a:lvl2pPr marL="179388" indent="-179388">
              <a:spcBef>
                <a:spcPts val="40"/>
              </a:spcBef>
              <a:defRPr sz="1600"/>
            </a:lvl2pPr>
            <a:lvl3pPr marL="360363" indent="-180975">
              <a:spcBef>
                <a:spcPts val="40"/>
              </a:spcBef>
              <a:defRPr sz="16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188704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4BA9F-7D4C-4421-A451-01E2B7381D3E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8983A1D-4D6A-20A1-246F-D90E834D68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6" y="1449389"/>
            <a:ext cx="3467029" cy="179959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1EC548A2-BD24-9227-A6CD-523677F543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2675" y="1449389"/>
            <a:ext cx="3465436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1FDEC21-8808-4E1C-5D07-37DFA51175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7227" y="1449389"/>
            <a:ext cx="3467029" cy="179959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C093E107-B829-CEE4-9295-B1B84BEAE14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79155" y="3852001"/>
            <a:ext cx="3467029" cy="179959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269E9327-75CD-A94E-4F13-6C971DCF19A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62675" y="3852000"/>
            <a:ext cx="3465436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7B4B6D58-21AF-6B45-2504-E31EDE54A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97227" y="3852001"/>
            <a:ext cx="3467029" cy="179959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7EDE1E8A-EFD6-AFE3-8FC8-A8781D081C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7227" y="5689101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90B09162-F170-AF79-446C-2FD12FCF2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9155" y="5689101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B625CAA8-22B4-0491-F50F-A64DB81820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2675" y="5689101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33B6E2E-EE51-3815-5A82-51C2D0BDCD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7227" y="3299877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C029808-0B66-A918-9826-7CF902C7D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79155" y="3299877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C032556-82F7-0D1B-C717-506C730F76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2675" y="3299877"/>
            <a:ext cx="3467029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23872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D8BD49-47D3-4F37-877E-B7C0A9080AD4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12784F6E-FB73-D6E4-8C2C-41F75D7C72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228" y="144939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EA8E577-195E-4B1A-BC32-FE3D591B8C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983170" y="144939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646FBB3-9915-B3D3-1716-7B2E4AB38A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59484" y="144939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3FC8EB0-667A-22B3-F4B0-8DFF6865569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0914" y="144939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7650EC49-433E-6552-2740-6B65EFF9480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8539" y="5689100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38A397CC-14F5-DD8F-565D-CB576CCEF0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5276" y="5689100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52C714DB-CD94-62D4-DBCC-363F77E96B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1166" y="5689100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FF900A0F-DD38-976A-BFC1-92B5ACB7395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226" y="3852001"/>
            <a:ext cx="2544940" cy="179959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530B9B83-A2E6-A97A-6B7B-389BCDC2C8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7227" y="3299877"/>
            <a:ext cx="2543762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CD6A5AE7-8194-069E-96C6-A9A19A691F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7227" y="5689101"/>
            <a:ext cx="2546946" cy="332288"/>
          </a:xfrm>
        </p:spPr>
        <p:txBody>
          <a:bodyPr/>
          <a:lstStyle>
            <a:lvl1pPr>
              <a:spcBef>
                <a:spcPts val="20"/>
              </a:spcBef>
              <a:defRPr sz="1200"/>
            </a:lvl1pPr>
            <a:lvl2pPr marL="179388" indent="-179388">
              <a:spcBef>
                <a:spcPts val="20"/>
              </a:spcBef>
              <a:defRPr sz="12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2" name="Textplatzhalter 19">
            <a:extLst>
              <a:ext uri="{FF2B5EF4-FFF2-40B4-BE49-F238E27FC236}">
                <a16:creationId xmlns:a16="http://schemas.microsoft.com/office/drawing/2014/main" id="{E33B1E40-AEE0-028C-74FA-4DA2F2785C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7478" y="3299877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6CF8C6E7-2EBA-0F42-5F97-0B15A298F57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5276" y="3299877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A8581B57-63E2-3060-2AF6-9711ABA149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80105" y="3299877"/>
            <a:ext cx="2540578" cy="332288"/>
          </a:xfrm>
        </p:spPr>
        <p:txBody>
          <a:bodyPr/>
          <a:lstStyle>
            <a:lvl1pPr>
              <a:spcBef>
                <a:spcPts val="40"/>
              </a:spcBef>
              <a:defRPr sz="1200"/>
            </a:lvl1pPr>
            <a:lvl2pPr marL="179388" indent="-179388">
              <a:spcBef>
                <a:spcPts val="40"/>
              </a:spcBef>
              <a:defRPr sz="1200"/>
            </a:lvl2pPr>
            <a:lvl3pPr>
              <a:spcBef>
                <a:spcPts val="40"/>
              </a:spcBef>
              <a:defRPr sz="1200"/>
            </a:lvl3pPr>
            <a:lvl4pPr>
              <a:spcBef>
                <a:spcPts val="40"/>
              </a:spcBef>
              <a:defRPr sz="1600"/>
            </a:lvl4pPr>
            <a:lvl5pPr>
              <a:spcBef>
                <a:spcPts val="40"/>
              </a:spcBef>
              <a:defRPr sz="16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615C431B-993D-61F7-28CB-6E9C6E916B2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982054" y="385200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5F9CC3CC-2D09-5169-EE63-2F307DD025A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58368" y="385200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05CD9CF5-8030-A2FA-B5F1-BDE8A3AB64FE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19798" y="3852000"/>
            <a:ext cx="2544940" cy="17995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8435943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lve caption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A1D8F-7254-47BE-92B2-DBF08CE55EEF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8983A1D-4D6A-20A1-246F-D90E834D68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9155" y="1449389"/>
            <a:ext cx="1625269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1EC548A2-BD24-9227-A6CD-523677F543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901249" y="1449389"/>
            <a:ext cx="1626861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1FDEC21-8808-4E1C-5D07-37DFA51175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7227" y="1449389"/>
            <a:ext cx="1625270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C093E107-B829-CEE4-9295-B1B84BEAE14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79154" y="3851999"/>
            <a:ext cx="1625269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269E9327-75CD-A94E-4F13-6C971DCF19A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62674" y="3852000"/>
            <a:ext cx="1623678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7B4B6D58-21AF-6B45-2504-E31EDE54A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97227" y="3851999"/>
            <a:ext cx="1625270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7EDE1E8A-EFD6-AFE3-8FC8-A8781D081C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7227" y="5589240"/>
            <a:ext cx="1625270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90B09162-F170-AF79-446C-2FD12FCF2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9154" y="5589240"/>
            <a:ext cx="1625269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B625CAA8-22B4-0491-F50F-A64DB81820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2675" y="5589240"/>
            <a:ext cx="1624425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33B6E2E-EE51-3815-5A82-51C2D0BDCD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7227" y="3204724"/>
            <a:ext cx="1625270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C029808-0B66-A918-9826-7CF902C7D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79154" y="3204724"/>
            <a:ext cx="1625269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C032556-82F7-0D1B-C717-506C730F76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02095" y="3204724"/>
            <a:ext cx="1627609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1C50D6C7-B8FE-16E3-A56F-215DF2E7FD0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538986" y="1449389"/>
            <a:ext cx="1625270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F254DC50-8CC2-CE50-0FB2-B9D82F2F6F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38986" y="3204724"/>
            <a:ext cx="1625270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356FD2E-817C-6008-A624-C0ED226EC77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19324" y="1449389"/>
            <a:ext cx="1626861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B844240D-6410-EAE1-FBFE-02793B43B59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19323" y="3204724"/>
            <a:ext cx="1626861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729A6D7-E881-5FD5-1C1E-FD7A660187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062674" y="1449389"/>
            <a:ext cx="1623678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86799E5C-45B4-E8EF-0A33-26FADBDA89C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62675" y="3204724"/>
            <a:ext cx="1624425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20480596-0358-6167-AD5A-A43149936E4D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38986" y="3851999"/>
            <a:ext cx="1625270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99EB327B-0262-FA88-4B41-185878FCDBA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38986" y="5589240"/>
            <a:ext cx="1625270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7383DAC6-063E-B185-1200-CBEAF6F1917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20915" y="3851999"/>
            <a:ext cx="1625269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28" name="Textplatzhalter 19">
            <a:extLst>
              <a:ext uri="{FF2B5EF4-FFF2-40B4-BE49-F238E27FC236}">
                <a16:creationId xmlns:a16="http://schemas.microsoft.com/office/drawing/2014/main" id="{814D2A83-C214-5D3D-33E5-499378F10F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0915" y="5589240"/>
            <a:ext cx="1625269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0C7EA178-EA7E-CEB6-BCCA-A6C695A390C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9900501" y="3852000"/>
            <a:ext cx="1627609" cy="169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0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67FC58FF-0434-E3CF-0015-FA751A6F2C4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01347" y="5589240"/>
            <a:ext cx="1628357" cy="332288"/>
          </a:xfrm>
        </p:spPr>
        <p:txBody>
          <a:bodyPr/>
          <a:lstStyle>
            <a:lvl1pPr>
              <a:spcBef>
                <a:spcPts val="20"/>
              </a:spcBef>
              <a:defRPr sz="1000"/>
            </a:lvl1pPr>
            <a:lvl2pPr marL="90488" indent="-90488">
              <a:spcBef>
                <a:spcPts val="20"/>
              </a:spcBef>
              <a:defRPr sz="1000"/>
            </a:lvl2pPr>
            <a:lvl3pPr>
              <a:spcBef>
                <a:spcPts val="20"/>
              </a:spcBef>
              <a:defRPr sz="1200"/>
            </a:lvl3pPr>
            <a:lvl4pPr>
              <a:spcBef>
                <a:spcPts val="20"/>
              </a:spcBef>
              <a:defRPr sz="1200"/>
            </a:lvl4pPr>
            <a:lvl5pPr>
              <a:spcBef>
                <a:spcPts val="20"/>
              </a:spcBef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37440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3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128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39548-6E31-475E-9523-67EEEB11B520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225338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5030913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ull size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95CE6-B1C1-4A01-9B59-7F69D83EEB48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17580FB4-DD13-1B0D-5A9E-15F0A7CB6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0912" y="1"/>
            <a:ext cx="6004426" cy="68579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1B2C62D-FBA5-44A1-36F5-135381BC9A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6004424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en-GB" noProof="0"/>
              <a:t>Add image by tapping on icon</a:t>
            </a:r>
          </a:p>
        </p:txBody>
      </p:sp>
    </p:spTree>
    <p:extLst>
      <p:ext uri="{BB962C8B-B14F-4D97-AF65-F5344CB8AC3E}">
        <p14:creationId xmlns:p14="http://schemas.microsoft.com/office/powerpoint/2010/main" val="33494142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46EAAB-E9CC-4FBB-A777-DFD68618E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1A95A-0331-42E2-B52D-EB8D369B2C5F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90A60D-3123-4534-B4E1-1B214E402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A66DD1-3165-483D-99FB-202ADC04E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069634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4E75BB-61FF-4F7E-9CDB-A5E34775C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67066-FCF1-45A3-9A8A-400034F861F3}" type="datetime1">
              <a:rPr lang="de-CH" noProof="0" smtClean="0"/>
              <a:t>19.01.26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09AB7D-DBAB-4FFF-BA65-85B952116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aul Scherrer Institute PS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9B7570-0B3E-4F91-B744-978CA7BDE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904772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Fix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Immagine che contiene testo, natura, arcobaleno, cielo notturno&#10;&#10;Descrizione generata automaticamente">
            <a:extLst>
              <a:ext uri="{FF2B5EF4-FFF2-40B4-BE49-F238E27FC236}">
                <a16:creationId xmlns:a16="http://schemas.microsoft.com/office/drawing/2014/main" id="{18FF909C-7F36-C47F-E8FE-0C0652320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sp>
        <p:nvSpPr>
          <p:cNvPr id="69" name="Segnaposto testo 11">
            <a:extLst>
              <a:ext uri="{FF2B5EF4-FFF2-40B4-BE49-F238E27FC236}">
                <a16:creationId xmlns:a16="http://schemas.microsoft.com/office/drawing/2014/main" id="{FF3D5380-4872-5A4D-9AD8-141BA8195A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950" y="4285326"/>
            <a:ext cx="7952836" cy="525463"/>
          </a:xfrm>
        </p:spPr>
        <p:txBody>
          <a:bodyPr/>
          <a:lstStyle>
            <a:lvl1pPr>
              <a:defRPr sz="2000">
                <a:solidFill>
                  <a:schemeClr val="tx2">
                    <a:lumMod val="40000"/>
                    <a:lumOff val="60000"/>
                  </a:schemeClr>
                </a:solidFill>
                <a:latin typeface="NotesEsa" panose="02000506030000020004" pitchFamily="2" charset="77"/>
              </a:defRPr>
            </a:lvl1pPr>
          </a:lstStyle>
          <a:p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goes</a:t>
            </a:r>
            <a:r>
              <a:rPr lang="it-IT"/>
              <a:t> </a:t>
            </a:r>
            <a:r>
              <a:rPr lang="it-IT" err="1"/>
              <a:t>here</a:t>
            </a:r>
            <a:endParaRPr lang="en-GB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C320F84B-4B76-AF4D-AEE6-502D79D73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949" y="1695450"/>
            <a:ext cx="5808628" cy="2517775"/>
          </a:xfrm>
        </p:spPr>
        <p:txBody>
          <a:bodyPr anchor="ctr"/>
          <a:lstStyle>
            <a:lvl1pPr marL="0" algn="l">
              <a:defRPr sz="4000"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r>
              <a:rPr lang="it-IT"/>
              <a:t>PRESENTATION</a:t>
            </a:r>
            <a:br>
              <a:rPr lang="it-IT"/>
            </a:br>
            <a:r>
              <a:rPr lang="it-IT"/>
              <a:t>TITLE GOES HERE</a:t>
            </a:r>
            <a:endParaRPr lang="en-GB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15565682-4925-81EB-47AC-02DE381FF3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4" name="Straight Connector 64">
            <a:extLst>
              <a:ext uri="{FF2B5EF4-FFF2-40B4-BE49-F238E27FC236}">
                <a16:creationId xmlns:a16="http://schemas.microsoft.com/office/drawing/2014/main" id="{48D7A91F-C2F7-416F-67C6-2D4D12FB7D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8F947CFB-9190-A843-B7F9-5DC776CBF9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77769" y="5643367"/>
            <a:ext cx="2901324" cy="928688"/>
          </a:xfr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your</a:t>
            </a:r>
            <a:r>
              <a:rPr lang="it-IT"/>
              <a:t> </a:t>
            </a:r>
            <a:r>
              <a:rPr lang="it-IT" err="1"/>
              <a:t>Name</a:t>
            </a:r>
            <a:r>
              <a:rPr lang="it-IT"/>
              <a:t> and </a:t>
            </a:r>
            <a:r>
              <a:rPr lang="it-IT" err="1"/>
              <a:t>Surname</a:t>
            </a:r>
            <a:r>
              <a:rPr lang="it-IT"/>
              <a:t> </a:t>
            </a:r>
            <a:r>
              <a:rPr lang="it-IT" err="1"/>
              <a:t>here</a:t>
            </a:r>
            <a:r>
              <a:rPr lang="it-IT"/>
              <a:t>     </a:t>
            </a:r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your</a:t>
            </a:r>
            <a:r>
              <a:rPr lang="it-IT"/>
              <a:t> Position </a:t>
            </a:r>
            <a:r>
              <a:rPr lang="it-IT" err="1"/>
              <a:t>here</a:t>
            </a:r>
            <a:r>
              <a:rPr lang="it-IT"/>
              <a:t>        </a:t>
            </a:r>
            <a:r>
              <a:rPr lang="it-IT" err="1"/>
              <a:t>Insert</a:t>
            </a:r>
            <a:r>
              <a:rPr lang="it-IT"/>
              <a:t> Date and time </a:t>
            </a:r>
            <a:r>
              <a:rPr lang="it-IT" err="1"/>
              <a:t>here</a:t>
            </a:r>
            <a:endParaRPr lang="en-GB"/>
          </a:p>
        </p:txBody>
      </p:sp>
      <p:pic>
        <p:nvPicPr>
          <p:cNvPr id="17" name="Picture 13">
            <a:extLst>
              <a:ext uri="{FF2B5EF4-FFF2-40B4-BE49-F238E27FC236}">
                <a16:creationId xmlns:a16="http://schemas.microsoft.com/office/drawing/2014/main" id="{D270E7AE-7323-A232-DC17-04E19D4196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573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 descr="Immagine che contiene natura, cielo notturno&#10;&#10;Descrizione generata automaticamente">
            <a:extLst>
              <a:ext uri="{FF2B5EF4-FFF2-40B4-BE49-F238E27FC236}">
                <a16:creationId xmlns:a16="http://schemas.microsoft.com/office/drawing/2014/main" id="{DEFDF0C6-E10F-3224-2B7A-F912D778C1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sp>
        <p:nvSpPr>
          <p:cNvPr id="69" name="Segnaposto testo 11">
            <a:extLst>
              <a:ext uri="{FF2B5EF4-FFF2-40B4-BE49-F238E27FC236}">
                <a16:creationId xmlns:a16="http://schemas.microsoft.com/office/drawing/2014/main" id="{FF3D5380-4872-5A4D-9AD8-141BA8195A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950" y="4285326"/>
            <a:ext cx="7952836" cy="525463"/>
          </a:xfrm>
        </p:spPr>
        <p:txBody>
          <a:bodyPr/>
          <a:lstStyle>
            <a:lvl1pPr>
              <a:defRPr sz="2000">
                <a:solidFill>
                  <a:schemeClr val="tx2">
                    <a:lumMod val="40000"/>
                    <a:lumOff val="60000"/>
                  </a:schemeClr>
                </a:solidFill>
                <a:latin typeface="NotesEsa" panose="02000506030000020004" pitchFamily="2" charset="77"/>
              </a:defRPr>
            </a:lvl1pPr>
          </a:lstStyle>
          <a:p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goes</a:t>
            </a:r>
            <a:r>
              <a:rPr lang="it-IT"/>
              <a:t> </a:t>
            </a:r>
            <a:r>
              <a:rPr lang="it-IT" err="1"/>
              <a:t>here</a:t>
            </a:r>
            <a:endParaRPr lang="en-GB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C320F84B-4B76-AF4D-AEE6-502D79D73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949" y="1695450"/>
            <a:ext cx="5808628" cy="2517775"/>
          </a:xfrm>
        </p:spPr>
        <p:txBody>
          <a:bodyPr anchor="ctr"/>
          <a:lstStyle>
            <a:lvl1pPr marL="0" algn="l">
              <a:defRPr sz="4000"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r>
              <a:rPr lang="it-IT"/>
              <a:t>PRESENTATION</a:t>
            </a:r>
            <a:br>
              <a:rPr lang="it-IT"/>
            </a:br>
            <a:r>
              <a:rPr lang="it-IT"/>
              <a:t>TITLE GOES HERE</a:t>
            </a:r>
            <a:endParaRPr lang="en-GB"/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8F947CFB-9190-A843-B7F9-5DC776CBF9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77769" y="5643367"/>
            <a:ext cx="2901324" cy="928688"/>
          </a:xfr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your</a:t>
            </a:r>
            <a:r>
              <a:rPr lang="it-IT"/>
              <a:t> </a:t>
            </a:r>
            <a:r>
              <a:rPr lang="it-IT" err="1"/>
              <a:t>Name</a:t>
            </a:r>
            <a:r>
              <a:rPr lang="it-IT"/>
              <a:t> and </a:t>
            </a:r>
            <a:r>
              <a:rPr lang="it-IT" err="1"/>
              <a:t>Surname</a:t>
            </a:r>
            <a:r>
              <a:rPr lang="it-IT"/>
              <a:t> </a:t>
            </a:r>
            <a:r>
              <a:rPr lang="it-IT" err="1"/>
              <a:t>here</a:t>
            </a:r>
            <a:r>
              <a:rPr lang="it-IT"/>
              <a:t>     </a:t>
            </a:r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your</a:t>
            </a:r>
            <a:r>
              <a:rPr lang="it-IT"/>
              <a:t> Position </a:t>
            </a:r>
            <a:r>
              <a:rPr lang="it-IT" err="1"/>
              <a:t>here</a:t>
            </a:r>
            <a:r>
              <a:rPr lang="it-IT"/>
              <a:t>        </a:t>
            </a:r>
            <a:r>
              <a:rPr lang="it-IT" err="1"/>
              <a:t>Insert</a:t>
            </a:r>
            <a:r>
              <a:rPr lang="it-IT"/>
              <a:t> Date and time </a:t>
            </a:r>
            <a:r>
              <a:rPr lang="it-IT" err="1"/>
              <a:t>here</a:t>
            </a:r>
            <a:endParaRPr lang="en-GB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6AF9827E-744D-3884-0F89-059D6880A7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EACA86C3-3D8B-1842-BC48-C80044368B89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1429381D-C1BB-CE64-C990-DBC6B34874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5192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373144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ligh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3E1FE0-067B-ABA3-2CC1-10DB66DB90BB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FB0E8-E278-5729-67ED-AAC00D8F73FC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6236653" y="1097915"/>
            <a:ext cx="5776272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663613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1276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dark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D8BBCFD0-B1CD-360F-06BF-DD98975A06DA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A612F201-9B06-CF9D-A03F-0C0164C1DC38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6236653" y="1097915"/>
            <a:ext cx="5776272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29302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54733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half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9F6FD31F-273A-6AA4-0C66-06E177896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5CFAAB90-8CEE-9141-B941-F5B5F1A6CC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3115863E-0FCE-753C-E3AA-B4DB98F66E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4" name="Straight Connector 64">
            <a:extLst>
              <a:ext uri="{FF2B5EF4-FFF2-40B4-BE49-F238E27FC236}">
                <a16:creationId xmlns:a16="http://schemas.microsoft.com/office/drawing/2014/main" id="{5467CC74-8247-BF5B-7811-3DB553752EA8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127D406D-743E-3520-B477-DC525CA2B02D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B366BB62-5568-54EE-AAB6-090F6C3044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1504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halfton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9F6FD31F-273A-6AA4-0C66-06E177896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5CFAAB90-8CEE-9141-B941-F5B5F1A6CC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3115863E-0FCE-753C-E3AA-B4DB98F66E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4" name="Straight Connector 64">
            <a:extLst>
              <a:ext uri="{FF2B5EF4-FFF2-40B4-BE49-F238E27FC236}">
                <a16:creationId xmlns:a16="http://schemas.microsoft.com/office/drawing/2014/main" id="{5467CC74-8247-BF5B-7811-3DB553752EA8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B366BB62-5568-54EE-AAB6-090F6C3044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133F9823-3D85-19FC-FDAA-40EE39FEB1DE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F5DF8978-377C-6132-7BEE-2B5EF966FD16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6236653" y="1097915"/>
            <a:ext cx="5776272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785057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natura, cielo notturno&#10;&#10;Descrizione generata automaticamente">
            <a:extLst>
              <a:ext uri="{FF2B5EF4-FFF2-40B4-BE49-F238E27FC236}">
                <a16:creationId xmlns:a16="http://schemas.microsoft.com/office/drawing/2014/main" id="{0EE9F259-D36D-3C0E-9560-49AE550329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64626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E7CE1A83-E145-A7F2-F98E-60EDE4CD02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" b="85307"/>
          <a:stretch/>
        </p:blipFill>
        <p:spPr>
          <a:xfrm>
            <a:off x="0" y="0"/>
            <a:ext cx="12225338" cy="100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>
            <a:extLst>
              <a:ext uri="{FF2B5EF4-FFF2-40B4-BE49-F238E27FC236}">
                <a16:creationId xmlns:a16="http://schemas.microsoft.com/office/drawing/2014/main" id="{AED9C375-7940-10E1-DEBA-971EFF448C70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2276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img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natura, cielo notturno&#10;&#10;Descrizione generata automaticamente">
            <a:extLst>
              <a:ext uri="{FF2B5EF4-FFF2-40B4-BE49-F238E27FC236}">
                <a16:creationId xmlns:a16="http://schemas.microsoft.com/office/drawing/2014/main" id="{0EE9F259-D36D-3C0E-9560-49AE550329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64626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E7CE1A83-E145-A7F2-F98E-60EDE4CD02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" b="85307"/>
          <a:stretch/>
        </p:blipFill>
        <p:spPr>
          <a:xfrm>
            <a:off x="0" y="0"/>
            <a:ext cx="12225338" cy="100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318AC26A-5585-13B2-F261-AA6608524366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43463C7-4AD1-9D9F-D38D-77A42421C684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6236653" y="1097915"/>
            <a:ext cx="5776272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894569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13DABF3A-F323-765F-302D-90B1333E26E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337185241"/>
              </p:ext>
            </p:extLst>
          </p:nvPr>
        </p:nvGraphicFramePr>
        <p:xfrm>
          <a:off x="217017" y="1173477"/>
          <a:ext cx="11773114" cy="4964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85105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testo, cielo notturno&#10;&#10;Descrizione generata automaticamente">
            <a:extLst>
              <a:ext uri="{FF2B5EF4-FFF2-40B4-BE49-F238E27FC236}">
                <a16:creationId xmlns:a16="http://schemas.microsoft.com/office/drawing/2014/main" id="{DBCAF715-3F6A-C280-332A-88BE363DC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sp>
        <p:nvSpPr>
          <p:cNvPr id="49" name="Text Box 38">
            <a:extLst>
              <a:ext uri="{FF2B5EF4-FFF2-40B4-BE49-F238E27FC236}">
                <a16:creationId xmlns:a16="http://schemas.microsoft.com/office/drawing/2014/main" id="{7820A33D-5104-DB45-BE94-F3E677D7D8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F1D756F-C1E0-A286-938E-2AFF15F78B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5" name="Straight Connector 64">
            <a:extLst>
              <a:ext uri="{FF2B5EF4-FFF2-40B4-BE49-F238E27FC236}">
                <a16:creationId xmlns:a16="http://schemas.microsoft.com/office/drawing/2014/main" id="{E3800EF9-7498-14E1-37F0-9B0E99F6C72F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96A6AD77-6677-F5CD-DD16-0627BF97D5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D8BBCFD0-B1CD-360F-06BF-DD98975A06DA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18859" y="1097915"/>
            <a:ext cx="5775750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NotesEsa" panose="02000506030000020004" pitchFamily="2" charset="77"/>
              </a:defRPr>
            </a:lvl1pPr>
          </a:lstStyle>
          <a:p>
            <a:pPr lvl="0"/>
            <a:r>
              <a:rPr lang="en-US" altLang="en-US"/>
              <a:t>Insert content here</a:t>
            </a:r>
            <a:endParaRPr lang="en-GB" altLang="en-US"/>
          </a:p>
        </p:txBody>
      </p:sp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C7194A27-8BB9-FCA3-7AED-362B1C34889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193623922"/>
              </p:ext>
            </p:extLst>
          </p:nvPr>
        </p:nvGraphicFramePr>
        <p:xfrm>
          <a:off x="6230731" y="1393765"/>
          <a:ext cx="5759400" cy="479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60564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A559FAC4-5543-4EDD-C479-BBD298269EFE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703621949"/>
              </p:ext>
            </p:extLst>
          </p:nvPr>
        </p:nvGraphicFramePr>
        <p:xfrm>
          <a:off x="217017" y="1247616"/>
          <a:ext cx="5759400" cy="479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en-US"/>
              <a:t>INSERT SLIDE TITLE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AD4B35-54FA-9144-8CA0-29E6DFD8430A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0A3D2804-7DDD-386B-8BA5-A9FA3A602F2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2022296"/>
              </p:ext>
            </p:extLst>
          </p:nvPr>
        </p:nvGraphicFramePr>
        <p:xfrm>
          <a:off x="6248923" y="1247616"/>
          <a:ext cx="5759400" cy="479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3161C5E-472C-DA39-F335-6808A48507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3402" y="1212482"/>
            <a:ext cx="3926625" cy="914400"/>
          </a:xfrm>
        </p:spPr>
        <p:txBody>
          <a:bodyPr/>
          <a:lstStyle>
            <a:lvl1pPr algn="ctr">
              <a:defRPr sz="4000" b="1">
                <a:latin typeface="NotesEsa" panose="02000506030000020004" pitchFamily="2" charset="77"/>
              </a:defRPr>
            </a:lvl1pPr>
          </a:lstStyle>
          <a:p>
            <a:pPr lvl="0"/>
            <a:r>
              <a:rPr lang="it-IT"/>
              <a:t>TITLE #1</a:t>
            </a:r>
          </a:p>
        </p:txBody>
      </p:sp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B3B763CE-C183-CE33-D741-BB4B599035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65311" y="1212482"/>
            <a:ext cx="3926625" cy="914400"/>
          </a:xfrm>
        </p:spPr>
        <p:txBody>
          <a:bodyPr/>
          <a:lstStyle>
            <a:lvl1pPr algn="ctr">
              <a:defRPr sz="4000" b="1">
                <a:latin typeface="NotesEsa" panose="02000506030000020004" pitchFamily="2" charset="77"/>
              </a:defRPr>
            </a:lvl1pPr>
          </a:lstStyle>
          <a:p>
            <a:pPr lvl="0"/>
            <a:r>
              <a:rPr lang="it-IT"/>
              <a:t>TITLE #2</a:t>
            </a:r>
          </a:p>
        </p:txBody>
      </p:sp>
    </p:spTree>
    <p:extLst>
      <p:ext uri="{BB962C8B-B14F-4D97-AF65-F5344CB8AC3E}">
        <p14:creationId xmlns:p14="http://schemas.microsoft.com/office/powerpoint/2010/main" val="236325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361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69FE3F1-DD0C-D1D2-E6C7-5C36AEC5A6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073" y="3029628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algn="ctr">
              <a:defRPr/>
            </a:lvl1pPr>
          </a:lstStyle>
          <a:p>
            <a:r>
              <a:rPr lang="en-US"/>
              <a:t>INSERT TEXT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4C1A1BFA-1D13-A021-F9AB-9F68B45F90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D2A71439-ECC6-95F0-0632-16E18E6C9186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90FCFB33-D303-A8F8-4AB2-4B7BFDAA2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359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69FE3F1-DD0C-D1D2-E6C7-5C36AEC5A6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073" y="3029628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algn="ctr">
              <a:defRPr/>
            </a:lvl1pPr>
          </a:lstStyle>
          <a:p>
            <a:r>
              <a:rPr lang="en-US"/>
              <a:t>INSERT TEXT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4C1A1BFA-1D13-A021-F9AB-9F68B45F90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D2A71439-ECC6-95F0-0632-16E18E6C9186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90FCFB33-D303-A8F8-4AB2-4B7BFDAA2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6564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69FE3F1-DD0C-D1D2-E6C7-5C36AEC5A6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073" y="3029628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algn="ctr">
              <a:defRPr/>
            </a:lvl1pPr>
          </a:lstStyle>
          <a:p>
            <a:r>
              <a:rPr lang="en-US"/>
              <a:t>INSERT TEXT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4C1A1BFA-1D13-A021-F9AB-9F68B45F90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D2A71439-ECC6-95F0-0632-16E18E6C9186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90FCFB33-D303-A8F8-4AB2-4B7BFDAA2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14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4987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69FE3F1-DD0C-D1D2-E6C7-5C36AEC5A6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073" y="3029628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algn="ctr">
              <a:defRPr/>
            </a:lvl1pPr>
          </a:lstStyle>
          <a:p>
            <a:r>
              <a:rPr lang="en-US"/>
              <a:t>INSERT TEXT HERE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4C1A1BFA-1D13-A021-F9AB-9F68B45F90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D2A71439-ECC6-95F0-0632-16E18E6C9186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90FCFB33-D303-A8F8-4AB2-4B7BFDAA2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5432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testo, natura, cielo notturno&#10;&#10;Descrizione generata automaticamente">
            <a:extLst>
              <a:ext uri="{FF2B5EF4-FFF2-40B4-BE49-F238E27FC236}">
                <a16:creationId xmlns:a16="http://schemas.microsoft.com/office/drawing/2014/main" id="{80AE3A44-E284-0650-FD2D-6BA74B362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8" name="Title Placeholder 2">
            <a:extLst>
              <a:ext uri="{FF2B5EF4-FFF2-40B4-BE49-F238E27FC236}">
                <a16:creationId xmlns:a16="http://schemas.microsoft.com/office/drawing/2014/main" id="{840F4CB8-8BAA-5A46-8C5F-AE3F1B5A1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073" y="3029628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algn="ctr">
              <a:defRPr/>
            </a:lvl1pPr>
          </a:lstStyle>
          <a:p>
            <a:r>
              <a:rPr lang="en-US"/>
              <a:t>THANK YOU</a:t>
            </a:r>
            <a:br>
              <a:rPr lang="en-US"/>
            </a:br>
            <a:r>
              <a:rPr lang="en-US"/>
              <a:t>FOR YOUR ATTENTION</a:t>
            </a:r>
            <a:endParaRPr lang="it-IT"/>
          </a:p>
        </p:txBody>
      </p:sp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116" name="TextBox 115"/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50" name="Picture 37">
            <a:extLst>
              <a:ext uri="{FF2B5EF4-FFF2-40B4-BE49-F238E27FC236}">
                <a16:creationId xmlns:a16="http://schemas.microsoft.com/office/drawing/2014/main" id="{3FFE02F6-2059-5C43-81C7-074CFFE011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4C1A1BFA-1D13-A021-F9AB-9F68B45F90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3" name="Straight Connector 64">
            <a:extLst>
              <a:ext uri="{FF2B5EF4-FFF2-40B4-BE49-F238E27FC236}">
                <a16:creationId xmlns:a16="http://schemas.microsoft.com/office/drawing/2014/main" id="{D2A71439-ECC6-95F0-0632-16E18E6C9186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90FCFB33-D303-A8F8-4AB2-4B7BFDAA2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5455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28103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69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5320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32812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60" y="1673225"/>
            <a:ext cx="5804673" cy="431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795"/>
            </a:lvl1pPr>
            <a:lvl2pPr>
              <a:defRPr sz="1795"/>
            </a:lvl2pPr>
            <a:lvl3pPr>
              <a:defRPr sz="1795"/>
            </a:lvl3pPr>
            <a:lvl4pPr>
              <a:defRPr sz="1795"/>
            </a:lvl4pPr>
            <a:lvl5pPr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17259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790"/>
            </a:lvl1pPr>
            <a:lvl2pPr>
              <a:defRPr sz="1790"/>
            </a:lvl2pPr>
            <a:lvl3pPr>
              <a:defRPr sz="1790"/>
            </a:lvl3pPr>
            <a:lvl4pPr>
              <a:defRPr sz="1790"/>
            </a:lvl4pPr>
            <a:lvl5pPr>
              <a:defRPr sz="179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53425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A_d"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41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6" noProof="1" smtClean="0">
                <a:solidFill>
                  <a:srgbClr val="8197A6"/>
                </a:solidFill>
                <a:latin typeface="NotesEsa" panose="02000506030000020004" pitchFamily="2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6" b="0" i="0" noProof="0">
              <a:solidFill>
                <a:srgbClr val="8197A6"/>
              </a:solidFill>
              <a:latin typeface="NotesEsa" panose="02000506030000020004" pitchFamily="2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2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1A477-2483-DBE8-C2FF-817D338CC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1043622"/>
            <a:ext cx="11795828" cy="5166378"/>
          </a:xfrm>
        </p:spPr>
        <p:txBody>
          <a:bodyPr/>
          <a:lstStyle>
            <a:lvl1pPr>
              <a:defRPr sz="1995">
                <a:solidFill>
                  <a:schemeClr val="bg1"/>
                </a:solidFill>
              </a:defRPr>
            </a:lvl1pPr>
            <a:lvl2pPr>
              <a:defRPr sz="1995">
                <a:solidFill>
                  <a:schemeClr val="bg1"/>
                </a:solidFill>
              </a:defRPr>
            </a:lvl2pPr>
            <a:lvl3pPr>
              <a:defRPr sz="1995">
                <a:solidFill>
                  <a:schemeClr val="bg1"/>
                </a:solidFill>
              </a:defRPr>
            </a:lvl3pPr>
            <a:lvl4pPr>
              <a:defRPr sz="1995">
                <a:solidFill>
                  <a:schemeClr val="bg1"/>
                </a:solidFill>
              </a:defRPr>
            </a:lvl4pPr>
            <a:lvl5pPr>
              <a:defRPr sz="19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577058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29200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225338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69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000" y="3421831"/>
            <a:ext cx="10625007" cy="567399"/>
          </a:xfrm>
          <a:prstGeom prst="rect">
            <a:avLst/>
          </a:prstGeom>
        </p:spPr>
        <p:txBody>
          <a:bodyPr/>
          <a:lstStyle>
            <a:lvl1pPr algn="l">
              <a:defRPr sz="308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33582" y="5406990"/>
            <a:ext cx="227947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11453" y="6156809"/>
            <a:ext cx="22794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125001" y="5811879"/>
            <a:ext cx="914400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3200" y="6213933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495" y="6202800"/>
            <a:ext cx="291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pic>
        <p:nvPicPr>
          <p:cNvPr id="102" name="Picture 5">
            <a:extLst>
              <a:ext uri="{FF2B5EF4-FFF2-40B4-BE49-F238E27FC236}">
                <a16:creationId xmlns:a16="http://schemas.microsoft.com/office/drawing/2014/main" id="{EA088D67-7B06-4281-990B-01FE6467697E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9" y="6472625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283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230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image" Target="../media/image38.png"/><Relationship Id="rId3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theme" Target="../theme/theme10.xml"/><Relationship Id="rId27" Type="http://schemas.openxmlformats.org/officeDocument/2006/relationships/image" Target="../media/image39.sv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2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image" Target="../media/image40.svg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image" Target="../media/image38.png"/><Relationship Id="rId10" Type="http://schemas.openxmlformats.org/officeDocument/2006/relationships/slideLayout" Target="../slideLayouts/slideLayout209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20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image" Target="../media/image41.jpeg"/><Relationship Id="rId11" Type="http://schemas.openxmlformats.org/officeDocument/2006/relationships/image" Target="../media/image42.png"/><Relationship Id="rId5" Type="http://schemas.openxmlformats.org/officeDocument/2006/relationships/theme" Target="../theme/theme12.xml"/><Relationship Id="rId10" Type="http://schemas.openxmlformats.org/officeDocument/2006/relationships/image" Target="../media/image40.svg"/><Relationship Id="rId4" Type="http://schemas.openxmlformats.org/officeDocument/2006/relationships/slideLayout" Target="../slideLayouts/slideLayout221.xml"/><Relationship Id="rId9" Type="http://schemas.openxmlformats.org/officeDocument/2006/relationships/image" Target="../media/image38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0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6.xml"/><Relationship Id="rId23" Type="http://schemas.openxmlformats.org/officeDocument/2006/relationships/image" Target="../media/image14.png"/><Relationship Id="rId10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35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45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7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252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13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12" Type="http://schemas.openxmlformats.org/officeDocument/2006/relationships/slideLayout" Target="../slideLayouts/slideLayout272.xml"/><Relationship Id="rId2" Type="http://schemas.openxmlformats.org/officeDocument/2006/relationships/slideLayout" Target="../slideLayouts/slideLayout26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65.xml"/><Relationship Id="rId15" Type="http://schemas.openxmlformats.org/officeDocument/2006/relationships/image" Target="../media/image44.png"/><Relationship Id="rId10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theme" Target="../theme/theme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image" Target="../media/image19.emf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image" Target="../media/image24.jpeg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image" Target="../media/image25.png"/><Relationship Id="rId30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image" Target="../media/image1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image" Target="../media/image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3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image" Target="../media/image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image" Target="../media/image39.svg"/><Relationship Id="rId2" Type="http://schemas.openxmlformats.org/officeDocument/2006/relationships/slideLayout" Target="../slideLayouts/slideLayout168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3" y="6462001"/>
            <a:ext cx="9956800" cy="405130"/>
          </a:xfrm>
          <a:prstGeom prst="rect">
            <a:avLst/>
          </a:prstGeom>
        </p:spPr>
      </p:pic>
      <p:pic>
        <p:nvPicPr>
          <p:cNvPr id="4" name="Picture 3" descr="A black and white logo&#10;&#10;AI-generated content may be incorrect.">
            <a:extLst>
              <a:ext uri="{FF2B5EF4-FFF2-40B4-BE49-F238E27FC236}">
                <a16:creationId xmlns:a16="http://schemas.microsoft.com/office/drawing/2014/main" id="{DE4D7FEB-FBAA-E626-5131-8BEA03250B5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4195" y="-138233"/>
            <a:ext cx="3657600" cy="11465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45" r:id="rId2"/>
    <p:sldLayoutId id="2147483974" r:id="rId3"/>
    <p:sldLayoutId id="2147483975" r:id="rId4"/>
    <p:sldLayoutId id="2147483973" r:id="rId5"/>
    <p:sldLayoutId id="2147483930" r:id="rId6"/>
    <p:sldLayoutId id="2147483931" r:id="rId7"/>
    <p:sldLayoutId id="2147483932" r:id="rId8"/>
    <p:sldLayoutId id="2147483933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6" r:id="rId15"/>
    <p:sldLayoutId id="2147483947" r:id="rId16"/>
    <p:sldLayoutId id="2147483977" r:id="rId17"/>
    <p:sldLayoutId id="2147484040" r:id="rId18"/>
    <p:sldLayoutId id="2147484080" r:id="rId19"/>
    <p:sldLayoutId id="2147484081" r:id="rId20"/>
    <p:sldLayoutId id="2147484253" r:id="rId2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132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777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34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1066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661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1" y="6457664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84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  <p:sldLayoutId id="2147484195" r:id="rId16"/>
    <p:sldLayoutId id="2147484196" r:id="rId17"/>
    <p:sldLayoutId id="2147484197" r:id="rId18"/>
    <p:sldLayoutId id="2147484198" r:id="rId19"/>
    <p:sldLayoutId id="2147484199" r:id="rId20"/>
    <p:sldLayoutId id="2147484200" r:id="rId2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132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777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34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1066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661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5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11680526" y="6202802"/>
            <a:ext cx="275075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798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798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CF4E875-8DB4-51DB-0D85-A91A5DDB3267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0" y="6439212"/>
            <a:ext cx="9793248" cy="40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504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06" r:id="rId3"/>
    <p:sldLayoutId id="2147484207" r:id="rId4"/>
    <p:sldLayoutId id="2147484208" r:id="rId5"/>
    <p:sldLayoutId id="2147484209" r:id="rId6"/>
    <p:sldLayoutId id="2147484210" r:id="rId7"/>
    <p:sldLayoutId id="2147484211" r:id="rId8"/>
    <p:sldLayoutId id="2147484212" r:id="rId9"/>
    <p:sldLayoutId id="2147484213" r:id="rId10"/>
    <p:sldLayoutId id="2147484214" r:id="rId11"/>
    <p:sldLayoutId id="2147484215" r:id="rId12"/>
    <p:sldLayoutId id="2147484216" r:id="rId13"/>
    <p:sldLayoutId id="2147484217" r:id="rId14"/>
    <p:sldLayoutId id="2147484218" r:id="rId15"/>
    <p:sldLayoutId id="2147484219" r:id="rId16"/>
    <p:sldLayoutId id="2147484220" r:id="rId17"/>
    <p:sldLayoutId id="2147484221" r:id="rId18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992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79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4105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28994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03882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47552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5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noProof="0"/>
          </a:p>
        </p:txBody>
      </p:sp>
      <p:sp>
        <p:nvSpPr>
          <p:cNvPr id="5" name="Text Box 27">
            <a:extLst>
              <a:ext uri="{FF2B5EF4-FFF2-40B4-BE49-F238E27FC236}">
                <a16:creationId xmlns:a16="http://schemas.microsoft.com/office/drawing/2014/main" id="{F943744C-DB75-A176-C1CF-93025BC3C9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noProof="0"/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CDC77111-5742-DAB4-7948-1B0657A5F6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NotesEsa" panose="02000506030000020004" pitchFamily="2" charset="77"/>
                <a:cs typeface="Arial" panose="020B0604020202020204" pitchFamily="34" charset="0"/>
              </a:rPr>
              <a:t>ESA UNCLASSIFIED - For ESA Official Use Only</a:t>
            </a:r>
          </a:p>
        </p:txBody>
      </p:sp>
      <p:cxnSp>
        <p:nvCxnSpPr>
          <p:cNvPr id="8" name="Straight Connector 152">
            <a:extLst>
              <a:ext uri="{FF2B5EF4-FFF2-40B4-BE49-F238E27FC236}">
                <a16:creationId xmlns:a16="http://schemas.microsoft.com/office/drawing/2014/main" id="{8C5F85C4-8AB1-6C0E-5ECB-E0559CE1809D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7315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686652C-B0C4-549B-252D-9A67FD3BA4F0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4515665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5">
            <a:extLst>
              <a:ext uri="{FF2B5EF4-FFF2-40B4-BE49-F238E27FC236}">
                <a16:creationId xmlns:a16="http://schemas.microsoft.com/office/drawing/2014/main" id="{51257D73-B335-EC11-A211-0A986EC1C2C4}"/>
              </a:ext>
            </a:extLst>
          </p:cNvPr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FD885B0-F95C-B11B-C06C-D22E588DCF4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6439212"/>
            <a:ext cx="9766542" cy="406262"/>
          </a:xfrm>
          <a:prstGeom prst="rect">
            <a:avLst/>
          </a:prstGeom>
        </p:spPr>
      </p:pic>
      <p:pic>
        <p:nvPicPr>
          <p:cNvPr id="15" name="Picture 14" descr="A logo with text and a star&#10;&#10;AI-generated content may be incorrect.">
            <a:extLst>
              <a:ext uri="{FF2B5EF4-FFF2-40B4-BE49-F238E27FC236}">
                <a16:creationId xmlns:a16="http://schemas.microsoft.com/office/drawing/2014/main" id="{1E28FC05-4725-C8DB-EFE3-03E41E865BD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1700" y="362483"/>
            <a:ext cx="2239548" cy="223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656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992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79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4105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28994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03882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47552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95660-CE89-4345-8089-CAD36085B63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E516291-A401-44B3-B7C0-494EEF7A0709}"/>
              </a:ext>
            </a:extLst>
          </p:cNvPr>
          <p:cNvPicPr>
            <a:picLocks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368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63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312" r:id="rId14"/>
    <p:sldLayoutId id="2147484242" r:id="rId15"/>
    <p:sldLayoutId id="2147484243" r:id="rId16"/>
    <p:sldLayoutId id="2147484244" r:id="rId17"/>
    <p:sldLayoutId id="2147484245" r:id="rId18"/>
    <p:sldLayoutId id="2147484246" r:id="rId19"/>
    <p:sldLayoutId id="2147484247" r:id="rId20"/>
    <p:sldLayoutId id="2147484248" r:id="rId21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3" y="6462001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186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  <p:sldLayoutId id="2147484267" r:id="rId11"/>
    <p:sldLayoutId id="2147484268" r:id="rId12"/>
    <p:sldLayoutId id="2147484269" r:id="rId13"/>
    <p:sldLayoutId id="2147484270" r:id="rId14"/>
    <p:sldLayoutId id="2147484271" r:id="rId15"/>
    <p:sldLayoutId id="2147484272" r:id="rId16"/>
    <p:sldLayoutId id="2147484273" r:id="rId17"/>
    <p:sldLayoutId id="2147484274" r:id="rId1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132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777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34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1066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661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DF09FB5-62F7-FB83-679B-6F6A465B50DF}"/>
              </a:ext>
            </a:extLst>
          </p:cNvPr>
          <p:cNvSpPr/>
          <p:nvPr userDrawn="1"/>
        </p:nvSpPr>
        <p:spPr>
          <a:xfrm>
            <a:off x="0" y="0"/>
            <a:ext cx="12225338" cy="6858000"/>
          </a:xfrm>
          <a:prstGeom prst="rect">
            <a:avLst/>
          </a:prstGeom>
          <a:solidFill>
            <a:srgbClr val="00324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9238C2-11FD-3740-0820-EE1875A5F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92" y="365126"/>
            <a:ext cx="10544354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B20A6D-8FB8-2CFD-29F7-50B4A92D7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492" y="1825625"/>
            <a:ext cx="1054435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778CE-7E22-086D-3451-F7E78EAC2B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0492" y="6457626"/>
            <a:ext cx="275070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rgbClr val="003247"/>
                </a:solidFill>
                <a:latin typeface="NotesEsa" panose="02000506030000020004" pitchFamily="2" charset="77"/>
              </a:defRPr>
            </a:lvl1pPr>
          </a:lstStyle>
          <a:p>
            <a:r>
              <a:rPr lang="de-CH"/>
              <a:t>May 27th, 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F184C3-62E5-FE48-9427-AF48C575A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4145" y="6450941"/>
            <a:ext cx="275070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 i="0">
                <a:solidFill>
                  <a:srgbClr val="003247"/>
                </a:solidFill>
                <a:latin typeface="NotesEsa" panose="02000506030000020004" pitchFamily="2" charset="77"/>
              </a:defRPr>
            </a:lvl1pPr>
          </a:lstStyle>
          <a:p>
            <a:fld id="{5DCD708D-94E2-415E-8D4E-E75F2123ACD6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5" name="Picture 4" descr="A logo with white dots&#10;&#10;AI-generated content may be incorrect.">
            <a:extLst>
              <a:ext uri="{FF2B5EF4-FFF2-40B4-BE49-F238E27FC236}">
                <a16:creationId xmlns:a16="http://schemas.microsoft.com/office/drawing/2014/main" id="{DD43F317-3ED7-446E-15A5-CCC991D50A1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1539" y="245684"/>
            <a:ext cx="1026614" cy="636950"/>
          </a:xfrm>
          <a:prstGeom prst="rect">
            <a:avLst/>
          </a:prstGeom>
        </p:spPr>
      </p:pic>
      <p:pic>
        <p:nvPicPr>
          <p:cNvPr id="9" name="Picture 8" descr="A black and white logo&#10;&#10;AI-generated content may be incorrect.">
            <a:extLst>
              <a:ext uri="{FF2B5EF4-FFF2-40B4-BE49-F238E27FC236}">
                <a16:creationId xmlns:a16="http://schemas.microsoft.com/office/drawing/2014/main" id="{173FCA1F-52DD-E421-4EB7-F4E3334C481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842" y="41935"/>
            <a:ext cx="3331969" cy="1044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193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  <p:sldLayoutId id="2147484288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003247"/>
          </a:solidFill>
          <a:latin typeface="NotesEsa" panose="02000506030000020004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003247"/>
          </a:solidFill>
          <a:latin typeface="NotesEsa" panose="02000506030000020004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003247"/>
          </a:solidFill>
          <a:latin typeface="NotesEsa" panose="02000506030000020004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003247"/>
          </a:solidFill>
          <a:latin typeface="NotesEsa" panose="02000506030000020004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03247"/>
          </a:solidFill>
          <a:latin typeface="NotesEsa" panose="02000506030000020004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03247"/>
          </a:solidFill>
          <a:latin typeface="NotesEsa" panose="02000506030000020004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95660-CE89-4345-8089-CAD36085B633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E516291-A401-44B3-B7C0-494EEF7A0709}"/>
              </a:ext>
            </a:extLst>
          </p:cNvPr>
          <p:cNvPicPr>
            <a:picLocks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368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9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72" r:id="rId7"/>
    <p:sldLayoutId id="2147483966" r:id="rId8"/>
    <p:sldLayoutId id="2147483967" r:id="rId9"/>
    <p:sldLayoutId id="2147483968" r:id="rId10"/>
    <p:sldLayoutId id="2147483969" r:id="rId11"/>
    <p:sldLayoutId id="2147484127" r:id="rId12"/>
    <p:sldLayoutId id="2147484318" r:id="rId13"/>
    <p:sldLayoutId id="2147483981" r:id="rId14"/>
    <p:sldLayoutId id="2147484003" r:id="rId15"/>
    <p:sldLayoutId id="2147484039" r:id="rId16"/>
    <p:sldLayoutId id="2147484062" r:id="rId17"/>
    <p:sldLayoutId id="2147484128" r:id="rId18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97227" y="278296"/>
            <a:ext cx="8989126" cy="8104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Add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7227" y="1376364"/>
            <a:ext cx="10830810" cy="4645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902842" y="6404573"/>
            <a:ext cx="1625269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0" i="0">
                <a:solidFill>
                  <a:schemeClr val="tx1"/>
                </a:solidFill>
                <a:latin typeface="NotesEsa" panose="02000506030000020004" pitchFamily="2" charset="77"/>
              </a:defRPr>
            </a:lvl1pPr>
          </a:lstStyle>
          <a:p>
            <a:fld id="{9F261762-898A-474B-BAD7-AB4911CF5591}" type="datetime1">
              <a:rPr lang="de-CH" smtClean="0"/>
              <a:pPr/>
              <a:t>19.01.26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18902" y="6404573"/>
            <a:ext cx="8067451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0" i="0">
                <a:solidFill>
                  <a:schemeClr val="tx1"/>
                </a:solidFill>
                <a:latin typeface="NotesEsa" panose="02000506030000020004" pitchFamily="2" charset="77"/>
              </a:defRPr>
            </a:lvl1pPr>
          </a:lstStyle>
          <a:p>
            <a:r>
              <a:rPr lang="en-GB"/>
              <a:t>Paul Scherrer Institute PSI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97227" y="6404573"/>
            <a:ext cx="705186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0" i="0">
                <a:solidFill>
                  <a:schemeClr val="tx1"/>
                </a:solidFill>
                <a:latin typeface="NotesEsa" panose="02000506030000020004" pitchFamily="2" charset="77"/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C2031EC-4715-FBAB-E65E-0A3E5D91D8E4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160" y="305378"/>
            <a:ext cx="883877" cy="362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038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  <p:sldLayoutId id="2147484029" r:id="rId25"/>
    <p:sldLayoutId id="2147484030" r:id="rId26"/>
    <p:sldLayoutId id="2147484031" r:id="rId27"/>
    <p:sldLayoutId id="2147484032" r:id="rId28"/>
    <p:sldLayoutId id="2147484033" r:id="rId29"/>
    <p:sldLayoutId id="2147484034" r:id="rId30"/>
    <p:sldLayoutId id="2147484035" r:id="rId31"/>
    <p:sldLayoutId id="2147484036" r:id="rId32"/>
    <p:sldLayoutId id="2147484037" r:id="rId33"/>
    <p:sldLayoutId id="2147484038" r:id="rId3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600"/>
        </a:spcBef>
        <a:buFont typeface="Aptos" panose="020B00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600"/>
        </a:spcBef>
        <a:buFont typeface="Aptos" panose="020B00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400"/>
        </a:spcBef>
        <a:buFont typeface="Aptos" panose="020B00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252000" algn="l" defTabSz="914400" rtl="0" eaLnBrk="1" latinLnBrk="0" hangingPunct="1">
        <a:lnSpc>
          <a:spcPct val="100000"/>
        </a:lnSpc>
        <a:spcBef>
          <a:spcPts val="400"/>
        </a:spcBef>
        <a:buFont typeface="Aptos" panose="020B00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A4A3A4"/>
          </p15:clr>
        </p15:guide>
        <p15:guide id="2" pos="7242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3772">
          <p15:clr>
            <a:srgbClr val="A4A3A4"/>
          </p15:clr>
        </p15:guide>
        <p15:guide id="6" pos="3908">
          <p15:clr>
            <a:srgbClr val="A4A3A4"/>
          </p15:clr>
        </p15:guide>
        <p15:guide id="7" pos="2751">
          <p15:clr>
            <a:srgbClr val="A4A3A4"/>
          </p15:clr>
        </p15:guide>
        <p15:guide id="8" pos="2615">
          <p15:clr>
            <a:srgbClr val="A4A3A4"/>
          </p15:clr>
        </p15:guide>
        <p15:guide id="9" pos="1595">
          <p15:clr>
            <a:srgbClr val="A4A3A4"/>
          </p15:clr>
        </p15:guide>
        <p15:guide id="10" pos="1459">
          <p15:clr>
            <a:srgbClr val="A4A3A4"/>
          </p15:clr>
        </p15:guide>
        <p15:guide id="11" pos="4929">
          <p15:clr>
            <a:srgbClr val="A4A3A4"/>
          </p15:clr>
        </p15:guide>
        <p15:guide id="12" pos="5065">
          <p15:clr>
            <a:srgbClr val="A4A3A4"/>
          </p15:clr>
        </p15:guide>
        <p15:guide id="13" pos="6085">
          <p15:clr>
            <a:srgbClr val="A4A3A4"/>
          </p15:clr>
        </p15:guide>
        <p15:guide id="14" pos="6221">
          <p15:clr>
            <a:srgbClr val="A4A3A4"/>
          </p15:clr>
        </p15:guide>
        <p15:guide id="15" pos="2172">
          <p15:clr>
            <a:srgbClr val="A4A3A4"/>
          </p15:clr>
        </p15:guide>
        <p15:guide id="16" pos="2036">
          <p15:clr>
            <a:srgbClr val="A4A3A4"/>
          </p15:clr>
        </p15:guide>
        <p15:guide id="17" pos="3194">
          <p15:clr>
            <a:srgbClr val="A4A3A4"/>
          </p15:clr>
        </p15:guide>
        <p15:guide id="18" pos="3330">
          <p15:clr>
            <a:srgbClr val="A4A3A4"/>
          </p15:clr>
        </p15:guide>
        <p15:guide id="19" pos="881">
          <p15:clr>
            <a:srgbClr val="A4A3A4"/>
          </p15:clr>
        </p15:guide>
        <p15:guide id="20" pos="1017">
          <p15:clr>
            <a:srgbClr val="A4A3A4"/>
          </p15:clr>
        </p15:guide>
        <p15:guide id="21" pos="4351">
          <p15:clr>
            <a:srgbClr val="A4A3A4"/>
          </p15:clr>
        </p15:guide>
        <p15:guide id="22" pos="4487">
          <p15:clr>
            <a:srgbClr val="A4A3A4"/>
          </p15:clr>
        </p15:guide>
        <p15:guide id="23" pos="5508">
          <p15:clr>
            <a:srgbClr val="A4A3A4"/>
          </p15:clr>
        </p15:guide>
        <p15:guide id="24" pos="5642">
          <p15:clr>
            <a:srgbClr val="A4A3A4"/>
          </p15:clr>
        </p15:guide>
        <p15:guide id="25" pos="6663">
          <p15:clr>
            <a:srgbClr val="A4A3A4"/>
          </p15:clr>
        </p15:guide>
        <p15:guide id="26" pos="6799">
          <p15:clr>
            <a:srgbClr val="A4A3A4"/>
          </p15:clr>
        </p15:guide>
        <p15:guide id="27" orient="horz" pos="229">
          <p15:clr>
            <a:srgbClr val="A4A3A4"/>
          </p15:clr>
        </p15:guide>
        <p15:guide id="28" orient="horz" pos="867">
          <p15:clr>
            <a:srgbClr val="A4A3A4"/>
          </p15:clr>
        </p15:guide>
        <p15:guide id="29" orient="horz" pos="3793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4150B13E-1069-2682-6086-84E3FCACE7C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pic>
        <p:nvPicPr>
          <p:cNvPr id="1028" name="Picture 35" descr="PPT_Header02" hidden="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25338" cy="120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8859" y="1097915"/>
            <a:ext cx="11795829" cy="5319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n-US"/>
              <a:t>Fare clic per modificare gli stili del testo dello schema</a:t>
            </a:r>
          </a:p>
          <a:p>
            <a:pPr lvl="1"/>
            <a:r>
              <a:rPr lang="it-IT" altLang="en-US"/>
              <a:t>Secondo livello</a:t>
            </a:r>
          </a:p>
          <a:p>
            <a:pPr lvl="2"/>
            <a:r>
              <a:rPr lang="it-IT" altLang="en-US"/>
              <a:t>Terzo livello</a:t>
            </a:r>
          </a:p>
          <a:p>
            <a:pPr lvl="3"/>
            <a:r>
              <a:rPr lang="it-IT" altLang="en-US"/>
              <a:t>Quarto livello</a:t>
            </a:r>
          </a:p>
          <a:p>
            <a:pPr lvl="4"/>
            <a:r>
              <a:rPr lang="it-IT" altLang="en-US"/>
              <a:t>Quinto livello</a:t>
            </a:r>
            <a:endParaRPr lang="en-GB" altLang="en-US"/>
          </a:p>
        </p:txBody>
      </p:sp>
      <p:sp>
        <p:nvSpPr>
          <p:cNvPr id="121" name="Text Box 38">
            <a:extLst>
              <a:ext uri="{FF2B5EF4-FFF2-40B4-BE49-F238E27FC236}">
                <a16:creationId xmlns:a16="http://schemas.microsoft.com/office/drawing/2014/main" id="{3C549275-6783-7945-A889-48A7AC6D14D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28378" y="6201716"/>
            <a:ext cx="3761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chemeClr val="accent5">
                  <a:lumMod val="40000"/>
                  <a:lumOff val="6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739" y="-156451"/>
            <a:ext cx="2099618" cy="1314000"/>
          </a:xfrm>
          <a:prstGeom prst="rect">
            <a:avLst/>
          </a:prstGeom>
        </p:spPr>
      </p:pic>
      <p:sp>
        <p:nvSpPr>
          <p:cNvPr id="66" name="Title Placeholder 2">
            <a:extLst>
              <a:ext uri="{FF2B5EF4-FFF2-40B4-BE49-F238E27FC236}">
                <a16:creationId xmlns:a16="http://schemas.microsoft.com/office/drawing/2014/main" id="{8AE608B3-9E11-BF49-BEEA-5EA8E0ACB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017" y="236217"/>
            <a:ext cx="10136492" cy="563779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8" name="TextBox 115">
            <a:extLst>
              <a:ext uri="{FF2B5EF4-FFF2-40B4-BE49-F238E27FC236}">
                <a16:creationId xmlns:a16="http://schemas.microsoft.com/office/drawing/2014/main" id="{F9E1C1DD-8FAB-3C44-829D-CCC49D93F7D1}"/>
              </a:ext>
            </a:extLst>
          </p:cNvPr>
          <p:cNvSpPr txBox="1"/>
          <p:nvPr userDrawn="1"/>
        </p:nvSpPr>
        <p:spPr>
          <a:xfrm>
            <a:off x="122718" y="6202583"/>
            <a:ext cx="2509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 </a:t>
            </a:r>
          </a:p>
        </p:txBody>
      </p:sp>
      <p:pic>
        <p:nvPicPr>
          <p:cNvPr id="2" name="Picture 37">
            <a:extLst>
              <a:ext uri="{FF2B5EF4-FFF2-40B4-BE49-F238E27FC236}">
                <a16:creationId xmlns:a16="http://schemas.microsoft.com/office/drawing/2014/main" id="{7553FF9B-0168-67DE-175B-079CA1A8C9F0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528" y="6585917"/>
            <a:ext cx="1641396" cy="105918"/>
          </a:xfrm>
          <a:prstGeom prst="rect">
            <a:avLst/>
          </a:prstGeom>
        </p:spPr>
      </p:pic>
      <p:cxnSp>
        <p:nvCxnSpPr>
          <p:cNvPr id="7" name="Straight Connector 38">
            <a:extLst>
              <a:ext uri="{FF2B5EF4-FFF2-40B4-BE49-F238E27FC236}">
                <a16:creationId xmlns:a16="http://schemas.microsoft.com/office/drawing/2014/main" id="{095A1AC3-1742-ED96-E887-23559BE52BCB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1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3">
            <a:extLst>
              <a:ext uri="{FF2B5EF4-FFF2-40B4-BE49-F238E27FC236}">
                <a16:creationId xmlns:a16="http://schemas.microsoft.com/office/drawing/2014/main" id="{1F11A3A9-40C5-1403-DEEC-266DF3E36EB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84" y="6438900"/>
            <a:ext cx="10213251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593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  <p:sldLayoutId id="2147484057" r:id="rId16"/>
    <p:sldLayoutId id="2147484058" r:id="rId17"/>
    <p:sldLayoutId id="2147484059" r:id="rId18"/>
    <p:sldLayoutId id="2147484060" r:id="rId19"/>
    <p:sldLayoutId id="2147484061" r:id="rId20"/>
    <p:sldLayoutId id="2147484063" r:id="rId21"/>
    <p:sldLayoutId id="2147484064" r:id="rId22"/>
    <p:sldLayoutId id="2147484065" r:id="rId23"/>
    <p:sldLayoutId id="2147484066" r:id="rId24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0">
          <a:solidFill>
            <a:schemeClr val="bg1"/>
          </a:solidFill>
          <a:latin typeface="NotesEsa" panose="02000506030000020004" pitchFamily="2" charset="77"/>
          <a:ea typeface="MS PGothic" pitchFamily="34" charset="-128"/>
          <a:cs typeface="Arial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0C0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0C0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0C0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0C0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charset="0"/>
        <a:defRPr sz="1600">
          <a:solidFill>
            <a:schemeClr val="tx1"/>
          </a:solidFill>
          <a:latin typeface="Arial" charset="0"/>
          <a:ea typeface="MS PGothic" pitchFamily="34" charset="-128"/>
          <a:cs typeface="Arial" charset="0"/>
        </a:defRPr>
      </a:lvl1pPr>
      <a:lvl2pPr marL="808038" indent="-350838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+mj-lt" charset="0"/>
        <a:defRPr sz="1600">
          <a:solidFill>
            <a:schemeClr val="tx1"/>
          </a:solidFill>
          <a:latin typeface="Arial" charset="0"/>
          <a:ea typeface="MS PGothic" pitchFamily="34" charset="-128"/>
          <a:cs typeface="Arial" charset="0"/>
        </a:defRPr>
      </a:lvl2pPr>
      <a:lvl3pPr marL="1406525" indent="-492125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+mj-lt" charset="0"/>
        <a:defRPr sz="1600">
          <a:solidFill>
            <a:schemeClr val="tx1"/>
          </a:solidFill>
          <a:latin typeface="Arial" charset="0"/>
          <a:ea typeface="MS PGothic" pitchFamily="34" charset="-128"/>
          <a:cs typeface="Arial" charset="0"/>
        </a:defRPr>
      </a:lvl3pPr>
      <a:lvl4pPr marL="2005013" indent="-633413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+mj-lt" charset="0"/>
        <a:defRPr sz="1600">
          <a:solidFill>
            <a:schemeClr val="tx1"/>
          </a:solidFill>
          <a:latin typeface="Arial" charset="0"/>
          <a:ea typeface="MS PGothic" pitchFamily="34" charset="-128"/>
          <a:cs typeface="Arial" charset="0"/>
        </a:defRPr>
      </a:lvl4pPr>
      <a:lvl5pPr marL="2603500" indent="-7747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+mj-lt" charset="0"/>
        <a:defRPr sz="1600">
          <a:solidFill>
            <a:schemeClr val="tx1"/>
          </a:solidFill>
          <a:latin typeface="Arial" charset="0"/>
          <a:ea typeface="MS PGothic" pitchFamily="34" charset="-128"/>
          <a:cs typeface="Arial" charset="0"/>
        </a:defRPr>
      </a:lvl5pPr>
      <a:lvl6pPr marL="3479800" indent="-4191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600">
          <a:solidFill>
            <a:schemeClr val="bg2"/>
          </a:solidFill>
          <a:latin typeface="+mn-lt"/>
        </a:defRPr>
      </a:lvl6pPr>
      <a:lvl7pPr marL="3937000" indent="-4191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600">
          <a:solidFill>
            <a:schemeClr val="bg2"/>
          </a:solidFill>
          <a:latin typeface="+mn-lt"/>
        </a:defRPr>
      </a:lvl7pPr>
      <a:lvl8pPr marL="4394200" indent="-4191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600">
          <a:solidFill>
            <a:schemeClr val="bg2"/>
          </a:solidFill>
          <a:latin typeface="+mn-lt"/>
        </a:defRPr>
      </a:lvl8pPr>
      <a:lvl9pPr marL="4851400" indent="-41910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6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95660-CE89-4345-8089-CAD36085B63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E516291-A401-44B3-B7C0-494EEF7A0709}"/>
              </a:ext>
            </a:extLst>
          </p:cNvPr>
          <p:cNvPicPr>
            <a:picLocks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3688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939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>
            <a:extLst>
              <a:ext uri="{FF2B5EF4-FFF2-40B4-BE49-F238E27FC236}">
                <a16:creationId xmlns:a16="http://schemas.microsoft.com/office/drawing/2014/main" id="{93483B42-205D-3C6F-16FB-7AD1245C5BF7}"/>
              </a:ext>
            </a:extLst>
          </p:cNvPr>
          <p:cNvSpPr/>
          <p:nvPr userDrawn="1"/>
        </p:nvSpPr>
        <p:spPr>
          <a:xfrm>
            <a:off x="-2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3" y="6462001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440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132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777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34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1066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661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5ACE8ED-F457-1A3C-E1A4-2EFB8A30EB2E}"/>
              </a:ext>
            </a:extLst>
          </p:cNvPr>
          <p:cNvSpPr txBox="1"/>
          <p:nvPr/>
        </p:nvSpPr>
        <p:spPr>
          <a:xfrm>
            <a:off x="4822283" y="3361334"/>
            <a:ext cx="2580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ay the force be with you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65A0B7-6446-0DFC-E48F-443D7CF58DFA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gradFill flip="none" rotWithShape="1">
            <a:gsLst>
              <a:gs pos="78000">
                <a:srgbClr val="234678"/>
              </a:gs>
              <a:gs pos="28000">
                <a:srgbClr val="00182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AB18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 err="1">
              <a:ln>
                <a:noFill/>
              </a:ln>
              <a:solidFill>
                <a:srgbClr val="FEEF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/>
        </p:nvSpPr>
        <p:spPr bwMode="auto">
          <a:xfrm>
            <a:off x="11680526" y="6202802"/>
            <a:ext cx="275075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798" noProof="1" smtClean="0">
                <a:solidFill>
                  <a:schemeClr val="bg1"/>
                </a:solidFill>
                <a:latin typeface="NotesEsa" panose="02000506030000020004" pitchFamily="2" charset="0"/>
                <a:cs typeface="Arial" panose="020B0604020202020204" pitchFamily="34" charset="0"/>
              </a:rPr>
              <a:t>‹#›</a:t>
            </a:fld>
            <a:endParaRPr lang="en-GB" sz="798" noProof="1">
              <a:solidFill>
                <a:schemeClr val="bg1"/>
              </a:solidFill>
              <a:latin typeface="NotesEsa" panose="02000506030000020004" pitchFamily="2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7B88B654-6870-4EB8-A79A-306A0238640A}"/>
              </a:ext>
            </a:extLst>
          </p:cNvPr>
          <p:cNvPicPr>
            <a:picLocks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1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2225"/>
            <a:ext cx="9956800" cy="40513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9A24301-623E-5827-3225-1D1673876116}"/>
              </a:ext>
            </a:extLst>
          </p:cNvPr>
          <p:cNvSpPr txBox="1"/>
          <p:nvPr/>
        </p:nvSpPr>
        <p:spPr>
          <a:xfrm>
            <a:off x="151280" y="6223390"/>
            <a:ext cx="46131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NotesEsa" panose="02000506030000020004" pitchFamily="2" charset="0"/>
                <a:ea typeface="MS PGothic" charset="-128"/>
                <a:cs typeface="Arial" panose="020B0604020202020204" pitchFamily="34" charset="0"/>
              </a:rPr>
              <a:t>ESA UNCLASSIFIED – For Official Use </a:t>
            </a:r>
          </a:p>
        </p:txBody>
      </p:sp>
      <p:sp>
        <p:nvSpPr>
          <p:cNvPr id="3" name="Text Box 38">
            <a:extLst>
              <a:ext uri="{FF2B5EF4-FFF2-40B4-BE49-F238E27FC236}">
                <a16:creationId xmlns:a16="http://schemas.microsoft.com/office/drawing/2014/main" id="{203408FA-58B1-B93B-ECD3-31EF5F7592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Picture 35" hidden="1">
            <a:extLst>
              <a:ext uri="{FF2B5EF4-FFF2-40B4-BE49-F238E27FC236}">
                <a16:creationId xmlns:a16="http://schemas.microsoft.com/office/drawing/2014/main" id="{51D23867-0DD1-CCF0-55FA-119056B57E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5" name="Text Box DG">
            <a:extLst>
              <a:ext uri="{FF2B5EF4-FFF2-40B4-BE49-F238E27FC236}">
                <a16:creationId xmlns:a16="http://schemas.microsoft.com/office/drawing/2014/main" id="{4A73F63B-7D2B-E1F5-660D-2106103BDE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6" name="Text Box 34">
            <a:extLst>
              <a:ext uri="{FF2B5EF4-FFF2-40B4-BE49-F238E27FC236}">
                <a16:creationId xmlns:a16="http://schemas.microsoft.com/office/drawing/2014/main" id="{AB27BAD6-F455-0856-6F48-87245C257C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E01150-89C3-1047-CA1A-5FB75DA142B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34FF4-504F-E66C-E643-A12DA81AC908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5">
            <a:extLst>
              <a:ext uri="{FF2B5EF4-FFF2-40B4-BE49-F238E27FC236}">
                <a16:creationId xmlns:a16="http://schemas.microsoft.com/office/drawing/2014/main" id="{6FFDA2B5-B563-F4F8-F283-021E57FA21E0}"/>
              </a:ext>
            </a:extLst>
          </p:cNvPr>
          <p:cNvPicPr>
            <a:picLocks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CF4BBC-EFD1-D431-92CD-552A9EB65DD3}"/>
              </a:ext>
            </a:extLst>
          </p:cNvPr>
          <p:cNvPicPr/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3" y="6462001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50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251" r:id="rId5"/>
    <p:sldLayoutId id="2147484290" r:id="rId6"/>
    <p:sldLayoutId id="2147484291" r:id="rId7"/>
    <p:sldLayoutId id="2147484292" r:id="rId8"/>
    <p:sldLayoutId id="2147484293" r:id="rId9"/>
    <p:sldLayoutId id="2147484295" r:id="rId10"/>
    <p:sldLayoutId id="2147484296" r:id="rId11"/>
    <p:sldLayoutId id="2147484297" r:id="rId12"/>
    <p:sldLayoutId id="2147484298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NotesEsa" panose="02000506030000020004" pitchFamily="2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2000" dirty="0" smtClean="0">
          <a:solidFill>
            <a:schemeClr val="bg1"/>
          </a:solidFill>
          <a:latin typeface="NotesEsa" panose="02000506030000020004" pitchFamily="2" charset="0"/>
          <a:ea typeface="+mn-ea"/>
          <a:cs typeface="Arial" panose="020B0604020202020204" pitchFamily="34" charset="0"/>
        </a:defRPr>
      </a:lvl1pPr>
      <a:lvl2pPr marL="779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2000" dirty="0" smtClean="0">
          <a:solidFill>
            <a:schemeClr val="bg1"/>
          </a:solidFill>
          <a:latin typeface="NotesEsa" panose="02000506030000020004" pitchFamily="2" charset="0"/>
          <a:ea typeface="+mn-ea"/>
          <a:cs typeface="Arial" panose="020B0604020202020204" pitchFamily="34" charset="0"/>
        </a:defRPr>
      </a:lvl2pPr>
      <a:lvl3pPr marL="1354105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2000" dirty="0" smtClean="0">
          <a:solidFill>
            <a:schemeClr val="bg1"/>
          </a:solidFill>
          <a:latin typeface="NotesEsa" panose="02000506030000020004" pitchFamily="2" charset="0"/>
          <a:ea typeface="+mn-ea"/>
          <a:cs typeface="Arial" panose="020B0604020202020204" pitchFamily="34" charset="0"/>
        </a:defRPr>
      </a:lvl3pPr>
      <a:lvl4pPr marL="1928994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2000" dirty="0" smtClean="0">
          <a:solidFill>
            <a:schemeClr val="bg1"/>
          </a:solidFill>
          <a:latin typeface="NotesEsa" panose="02000506030000020004" pitchFamily="2" charset="0"/>
          <a:ea typeface="+mn-ea"/>
          <a:cs typeface="Arial" panose="020B0604020202020204" pitchFamily="34" charset="0"/>
        </a:defRPr>
      </a:lvl4pPr>
      <a:lvl5pPr marL="2503882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2000" dirty="0" smtClean="0">
          <a:solidFill>
            <a:schemeClr val="bg1"/>
          </a:solidFill>
          <a:latin typeface="NotesEsa" panose="02000506030000020004" pitchFamily="2" charset="0"/>
          <a:ea typeface="+mn-ea"/>
          <a:cs typeface="Arial" panose="020B0604020202020204" pitchFamily="34" charset="0"/>
        </a:defRPr>
      </a:lvl5pPr>
      <a:lvl6pPr marL="3347552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62">
          <p15:clr>
            <a:srgbClr val="F26B43"/>
          </p15:clr>
        </p15:guide>
        <p15:guide id="3" orient="horz" pos="2160" userDrawn="1">
          <p15:clr>
            <a:srgbClr val="F26B43"/>
          </p15:clr>
        </p15:guide>
        <p15:guide id="4" pos="3851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5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6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0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1" y="160400"/>
            <a:ext cx="10108800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11680528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798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798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90" y="-216085"/>
            <a:ext cx="2093891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6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294C493E-467F-427F-AD20-6EDFB99CC1EE}"/>
              </a:ext>
            </a:extLst>
          </p:cNvPr>
          <p:cNvPicPr>
            <a:picLocks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7999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4" y="6462002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55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6" r:id="rId15"/>
    <p:sldLayoutId id="2147484157" r:id="rId16"/>
    <p:sldLayoutId id="2147484158" r:id="rId17"/>
    <p:sldLayoutId id="2147484159" r:id="rId18"/>
    <p:sldLayoutId id="2147484160" r:id="rId19"/>
    <p:sldLayoutId id="2147484161" r:id="rId20"/>
    <p:sldLayoutId id="2147484162" r:id="rId21"/>
    <p:sldLayoutId id="2147484163" r:id="rId2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992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5pPr>
      <a:lvl6pPr marL="439857"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6pPr>
      <a:lvl7pPr marL="879716"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7pPr>
      <a:lvl8pPr marL="1319575"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8pPr>
      <a:lvl9pPr marL="1759434" algn="l" rtl="0" eaLnBrk="1" fontAlgn="base" hangingPunct="1">
        <a:spcBef>
          <a:spcPct val="0"/>
        </a:spcBef>
        <a:spcAft>
          <a:spcPct val="0"/>
        </a:spcAft>
        <a:defRPr sz="2115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7927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421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2914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0407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47811" indent="-403203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0">
          <a:solidFill>
            <a:schemeClr val="bg2"/>
          </a:solidFill>
          <a:latin typeface="+mn-lt"/>
        </a:defRPr>
      </a:lvl6pPr>
      <a:lvl7pPr marL="3787668" indent="-403203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0">
          <a:solidFill>
            <a:schemeClr val="bg2"/>
          </a:solidFill>
          <a:latin typeface="+mn-lt"/>
        </a:defRPr>
      </a:lvl7pPr>
      <a:lvl8pPr marL="4227528" indent="-403203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0">
          <a:solidFill>
            <a:schemeClr val="bg2"/>
          </a:solidFill>
          <a:latin typeface="+mn-lt"/>
        </a:defRPr>
      </a:lvl8pPr>
      <a:lvl9pPr marL="4667385" indent="-403203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57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716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575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434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293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9150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9007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866" algn="l" defTabSz="879716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b="0" i="0" noProof="0">
              <a:latin typeface="NotesEsa" panose="02000506030000020004" pitchFamily="2" charset="77"/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95660-CE89-4345-8089-CAD36085B63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E516291-A401-44B3-B7C0-494EEF7A0709}"/>
              </a:ext>
            </a:extLst>
          </p:cNvPr>
          <p:cNvPicPr>
            <a:picLocks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" y="6455688"/>
            <a:ext cx="10159937" cy="43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804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  <p:sldLayoutId id="2147484202" r:id="rId12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esdi.ch/phi-lab" TargetMode="External"/><Relationship Id="rId5" Type="http://schemas.openxmlformats.org/officeDocument/2006/relationships/hyperlink" Target="http://www.esdi.ch/" TargetMode="External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4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2.xml"/><Relationship Id="rId5" Type="http://schemas.openxmlformats.org/officeDocument/2006/relationships/image" Target="../media/image53.png"/><Relationship Id="rId4" Type="http://schemas.openxmlformats.org/officeDocument/2006/relationships/image" Target="../media/image5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BCB082-143C-94B9-8018-A93A4E5FDCA7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solidFill>
            <a:schemeClr val="tx1">
              <a:alpha val="7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Box 24">
            <a:extLst>
              <a:ext uri="{FF2B5EF4-FFF2-40B4-BE49-F238E27FC236}">
                <a16:creationId xmlns:a16="http://schemas.microsoft.com/office/drawing/2014/main" id="{32657C64-D233-858B-A026-F374A8E56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6108" y="6074478"/>
            <a:ext cx="576923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Jennifer Wadsworth, Phi-Lab Program Manager</a:t>
            </a:r>
          </a:p>
        </p:txBody>
      </p:sp>
      <p:sp>
        <p:nvSpPr>
          <p:cNvPr id="6" name="Text Box 25">
            <a:extLst>
              <a:ext uri="{FF2B5EF4-FFF2-40B4-BE49-F238E27FC236}">
                <a16:creationId xmlns:a16="http://schemas.microsoft.com/office/drawing/2014/main" id="{634D72FF-F6BA-614E-9651-2923DF0882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1618" y="6228367"/>
            <a:ext cx="5123720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ts val="0"/>
              </a:spcBef>
            </a:pPr>
            <a:endParaRPr lang="en-GB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spcBef>
                <a:spcPts val="0"/>
              </a:spcBef>
            </a:pP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APS, 20.01.26</a:t>
            </a: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762CE7E2-4811-391F-0EDE-6B993591E553}"/>
              </a:ext>
            </a:extLst>
          </p:cNvPr>
          <p:cNvSpPr txBox="1">
            <a:spLocks/>
          </p:cNvSpPr>
          <p:nvPr/>
        </p:nvSpPr>
        <p:spPr>
          <a:xfrm>
            <a:off x="-679426" y="1139328"/>
            <a:ext cx="6137910" cy="4038517"/>
          </a:xfrm>
          <a:prstGeom prst="rect">
            <a:avLst/>
          </a:prstGeom>
        </p:spPr>
        <p:txBody>
          <a:bodyPr vert="horz" wrap="square" lIns="0" tIns="45454" rIns="0" bIns="45454" rtlCol="0" anchor="ctr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8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DI</a:t>
            </a:r>
          </a:p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8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&amp; </a:t>
            </a:r>
          </a:p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8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i-Lab</a:t>
            </a:r>
          </a:p>
        </p:txBody>
      </p:sp>
      <p:pic>
        <p:nvPicPr>
          <p:cNvPr id="8" name="Picture 7" descr="A satellite in space with earth and numbers&#10;&#10;AI-generated content may be incorrect.">
            <a:extLst>
              <a:ext uri="{FF2B5EF4-FFF2-40B4-BE49-F238E27FC236}">
                <a16:creationId xmlns:a16="http://schemas.microsoft.com/office/drawing/2014/main" id="{17E28D1D-9769-8E07-A2AC-6665291C0E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288" y="-209619"/>
            <a:ext cx="6137910" cy="6137910"/>
          </a:xfrm>
          <a:prstGeom prst="rect">
            <a:avLst/>
          </a:prstGeom>
        </p:spPr>
      </p:pic>
      <p:sp>
        <p:nvSpPr>
          <p:cNvPr id="9" name="Titolo 1">
            <a:extLst>
              <a:ext uri="{FF2B5EF4-FFF2-40B4-BE49-F238E27FC236}">
                <a16:creationId xmlns:a16="http://schemas.microsoft.com/office/drawing/2014/main" id="{5EC0FF28-B4A9-7AAC-F1F7-F6D2C5CC6647}"/>
              </a:ext>
            </a:extLst>
          </p:cNvPr>
          <p:cNvSpPr txBox="1">
            <a:spLocks/>
          </p:cNvSpPr>
          <p:nvPr/>
        </p:nvSpPr>
        <p:spPr>
          <a:xfrm>
            <a:off x="8131701" y="1917808"/>
            <a:ext cx="4242276" cy="1883055"/>
          </a:xfrm>
          <a:prstGeom prst="rect">
            <a:avLst/>
          </a:prstGeom>
        </p:spPr>
        <p:txBody>
          <a:bodyPr vert="horz" wrap="square" lIns="0" tIns="45454" rIns="0" bIns="45454" rtlCol="0" anchor="ctr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3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chnologies of Tomorrow for </a:t>
            </a:r>
          </a:p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3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World Today</a:t>
            </a:r>
          </a:p>
        </p:txBody>
      </p:sp>
      <p:pic>
        <p:nvPicPr>
          <p:cNvPr id="11" name="Picture 10" descr="A black and white logo&#10;&#10;AI-generated content may be incorrect.">
            <a:extLst>
              <a:ext uri="{FF2B5EF4-FFF2-40B4-BE49-F238E27FC236}">
                <a16:creationId xmlns:a16="http://schemas.microsoft.com/office/drawing/2014/main" id="{79121168-7ECA-8B7A-231B-7F9C5475C8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00" y="-128997"/>
            <a:ext cx="3377454" cy="1058706"/>
          </a:xfrm>
          <a:prstGeom prst="rect">
            <a:avLst/>
          </a:prstGeom>
        </p:spPr>
      </p:pic>
      <p:pic>
        <p:nvPicPr>
          <p:cNvPr id="12" name="Picture 11" descr="A logo with white dots&#10;&#10;AI-generated content may be incorrect.">
            <a:extLst>
              <a:ext uri="{FF2B5EF4-FFF2-40B4-BE49-F238E27FC236}">
                <a16:creationId xmlns:a16="http://schemas.microsoft.com/office/drawing/2014/main" id="{1661077A-94BD-CAE1-0D30-181FC0FA27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922" y="106413"/>
            <a:ext cx="1051288" cy="652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22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E68F1D4-E640-ED1F-9D29-445E9831A712}"/>
              </a:ext>
            </a:extLst>
          </p:cNvPr>
          <p:cNvSpPr txBox="1">
            <a:spLocks/>
          </p:cNvSpPr>
          <p:nvPr/>
        </p:nvSpPr>
        <p:spPr>
          <a:xfrm>
            <a:off x="510722" y="330188"/>
            <a:ext cx="10108800" cy="56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3247"/>
                </a:solidFill>
                <a:latin typeface="NotesEsa" panose="02000506030000020004" pitchFamily="2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CALL 2026</a:t>
            </a:r>
          </a:p>
          <a:p>
            <a:pPr fontAlgn="auto">
              <a:spcAft>
                <a:spcPts val="0"/>
              </a:spcAft>
            </a:pPr>
            <a:endParaRPr lang="en-US" sz="36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FC6904-F5AA-3E9A-A6B8-20F65C3298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589" y="1769056"/>
            <a:ext cx="3319888" cy="331988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363E4D8-A1A4-15AE-181B-41AEBADB6069}"/>
              </a:ext>
            </a:extLst>
          </p:cNvPr>
          <p:cNvSpPr txBox="1">
            <a:spLocks/>
          </p:cNvSpPr>
          <p:nvPr/>
        </p:nvSpPr>
        <p:spPr bwMode="auto">
          <a:xfrm>
            <a:off x="510722" y="1503207"/>
            <a:ext cx="7492220" cy="47250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5pPr>
            <a:lvl6pPr marL="441048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6pPr>
            <a:lvl7pPr marL="882098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7pPr>
            <a:lvl8pPr marL="1323147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8pPr>
            <a:lvl9pPr marL="1764197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457200" indent="-457200">
              <a:buFont typeface="Wingdings" pitchFamily="2" charset="2"/>
              <a:buChar char="Ø"/>
            </a:pPr>
            <a:r>
              <a:rPr lang="en-US" sz="3200" kern="0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ll for Ideas (not proposals!) Deadline Feb 27</a:t>
            </a:r>
            <a:r>
              <a:rPr lang="en-US" sz="3200" kern="0" baseline="30000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</a:t>
            </a:r>
            <a:endParaRPr lang="en-US" sz="3200" kern="0" dirty="0">
              <a:solidFill>
                <a:srgbClr val="FF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>
              <a:buFont typeface="Wingdings" pitchFamily="2" charset="2"/>
              <a:buChar char="Ø"/>
            </a:pP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rkshop (Feb/Mar)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ll for proposals (April)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lection (Summer 2026)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>
              <a:buFont typeface="Wingdings" pitchFamily="2" charset="2"/>
              <a:buChar char="Ø"/>
            </a:pPr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gram Kick-Off (Autumn 2026)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6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53786BA-64AA-35AF-1E81-0C337B375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29ACD0-905C-23F1-2EAC-51258AC9EEDC}"/>
              </a:ext>
            </a:extLst>
          </p:cNvPr>
          <p:cNvSpPr/>
          <p:nvPr/>
        </p:nvSpPr>
        <p:spPr>
          <a:xfrm>
            <a:off x="0" y="0"/>
            <a:ext cx="12225338" cy="6858000"/>
          </a:xfrm>
          <a:prstGeom prst="rect">
            <a:avLst/>
          </a:prstGeom>
          <a:solidFill>
            <a:schemeClr val="tx1">
              <a:alpha val="7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satellite in space with earth and numbers&#10;&#10;AI-generated content may be incorrect.">
            <a:extLst>
              <a:ext uri="{FF2B5EF4-FFF2-40B4-BE49-F238E27FC236}">
                <a16:creationId xmlns:a16="http://schemas.microsoft.com/office/drawing/2014/main" id="{B17232E4-E415-C466-B239-253093E0D8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847" y="1595979"/>
            <a:ext cx="4886546" cy="4886546"/>
          </a:xfrm>
          <a:prstGeom prst="rect">
            <a:avLst/>
          </a:prstGeom>
        </p:spPr>
      </p:pic>
      <p:pic>
        <p:nvPicPr>
          <p:cNvPr id="3" name="Picture 2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30563C65-67DC-C4E8-544D-91A2039850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12"/>
          <a:stretch>
            <a:fillRect/>
          </a:stretch>
        </p:blipFill>
        <p:spPr>
          <a:xfrm>
            <a:off x="657600" y="3685101"/>
            <a:ext cx="2868973" cy="28491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307EA52-A2C3-4370-0C02-6D7C53CF8B91}"/>
              </a:ext>
            </a:extLst>
          </p:cNvPr>
          <p:cNvSpPr txBox="1"/>
          <p:nvPr/>
        </p:nvSpPr>
        <p:spPr>
          <a:xfrm>
            <a:off x="3698704" y="4447963"/>
            <a:ext cx="3769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cribe to </a:t>
            </a:r>
            <a:br>
              <a:rPr lang="en-GB" sz="40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40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r Newslet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4117EE-3D35-7190-0015-B32A23F605C8}"/>
              </a:ext>
            </a:extLst>
          </p:cNvPr>
          <p:cNvSpPr txBox="1"/>
          <p:nvPr/>
        </p:nvSpPr>
        <p:spPr>
          <a:xfrm>
            <a:off x="7988760" y="375475"/>
            <a:ext cx="4270720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| </a:t>
            </a:r>
            <a:r>
              <a:rPr lang="en-GB" sz="24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ennifer.wadsworth@psi.ch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|</a:t>
            </a:r>
          </a:p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| 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sdi.ch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| </a:t>
            </a:r>
          </a:p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| 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sdi.ch/phi-lab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|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BC5C4E-EE76-523E-081E-C02887AA618E}"/>
              </a:ext>
            </a:extLst>
          </p:cNvPr>
          <p:cNvSpPr txBox="1"/>
          <p:nvPr/>
        </p:nvSpPr>
        <p:spPr>
          <a:xfrm>
            <a:off x="3740020" y="934259"/>
            <a:ext cx="3219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mit a Data Idea</a:t>
            </a:r>
          </a:p>
        </p:txBody>
      </p:sp>
      <p:pic>
        <p:nvPicPr>
          <p:cNvPr id="6" name="Picture 5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778D1189-5476-CF13-723E-6D0D75069E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65" y="401708"/>
            <a:ext cx="2680042" cy="2680042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4267201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BEDEE465-5D0B-EBB9-7898-D83BA18A4DD2}"/>
              </a:ext>
            </a:extLst>
          </p:cNvPr>
          <p:cNvSpPr txBox="1">
            <a:spLocks/>
          </p:cNvSpPr>
          <p:nvPr/>
        </p:nvSpPr>
        <p:spPr>
          <a:xfrm>
            <a:off x="8087097" y="1452471"/>
            <a:ext cx="3841405" cy="3953058"/>
          </a:xfrm>
          <a:prstGeom prst="rect">
            <a:avLst/>
          </a:prstGeom>
        </p:spPr>
        <p:txBody>
          <a:bodyPr vert="horz" lIns="0" tIns="45454" rIns="0" bIns="45454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406" algn="ctr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3092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</a:t>
            </a:r>
            <a:r>
              <a:rPr lang="en-GB" sz="3092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ep-tech centre of excellence </a:t>
            </a:r>
            <a:r>
              <a:rPr lang="en-GB" sz="3092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 Switzerland under the leadership of ESA, implemented in partnership with PSI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81884D6-EE74-A188-95FD-AA146A1EB517}"/>
              </a:ext>
            </a:extLst>
          </p:cNvPr>
          <p:cNvSpPr txBox="1">
            <a:spLocks/>
          </p:cNvSpPr>
          <p:nvPr/>
        </p:nvSpPr>
        <p:spPr>
          <a:xfrm>
            <a:off x="232080" y="2388358"/>
            <a:ext cx="3230374" cy="2197290"/>
          </a:xfrm>
          <a:prstGeom prst="rect">
            <a:avLst/>
          </a:prstGeom>
        </p:spPr>
        <p:txBody>
          <a:bodyPr vert="horz" wrap="square" lIns="0" tIns="45454" rIns="0" bIns="45454" rtlCol="0" anchor="ctr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406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4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IS </a:t>
            </a:r>
            <a:r>
              <a:rPr lang="en-GB" sz="8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DI?</a:t>
            </a:r>
          </a:p>
        </p:txBody>
      </p:sp>
      <p:pic>
        <p:nvPicPr>
          <p:cNvPr id="12" name="Picture 11" descr="A satellite in space with earth and numbers&#10;&#10;AI-generated content may be incorrect.">
            <a:extLst>
              <a:ext uri="{FF2B5EF4-FFF2-40B4-BE49-F238E27FC236}">
                <a16:creationId xmlns:a16="http://schemas.microsoft.com/office/drawing/2014/main" id="{DD22D283-D578-A5DA-316C-DC8078E77C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336" y="189336"/>
            <a:ext cx="6137910" cy="613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356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780B5A-844D-DF78-E43C-BA7ECA575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e 47">
            <a:extLst>
              <a:ext uri="{FF2B5EF4-FFF2-40B4-BE49-F238E27FC236}">
                <a16:creationId xmlns:a16="http://schemas.microsoft.com/office/drawing/2014/main" id="{B68DCBA7-8D64-E816-2CD3-7C9702EE3C6A}"/>
              </a:ext>
            </a:extLst>
          </p:cNvPr>
          <p:cNvSpPr/>
          <p:nvPr/>
        </p:nvSpPr>
        <p:spPr>
          <a:xfrm>
            <a:off x="4597410" y="3789099"/>
            <a:ext cx="3013519" cy="3014642"/>
          </a:xfrm>
          <a:prstGeom prst="ellipse">
            <a:avLst/>
          </a:prstGeom>
          <a:blipFill dpi="0"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40ADC5EF-2003-850B-9BCB-324533DC008A}"/>
              </a:ext>
            </a:extLst>
          </p:cNvPr>
          <p:cNvSpPr txBox="1">
            <a:spLocks/>
          </p:cNvSpPr>
          <p:nvPr/>
        </p:nvSpPr>
        <p:spPr>
          <a:xfrm>
            <a:off x="251581" y="4310931"/>
            <a:ext cx="4541801" cy="2080995"/>
          </a:xfrm>
          <a:prstGeom prst="rect">
            <a:avLst/>
          </a:prstGeom>
        </p:spPr>
        <p:txBody>
          <a:bodyPr vert="horz" wrap="square" lIns="0" tIns="45454" rIns="0" bIns="45454" rtlCol="0" anchor="ctr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406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4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IS </a:t>
            </a:r>
          </a:p>
          <a:p>
            <a:pPr marL="150406" defTabSz="1215848">
              <a:lnSpc>
                <a:spcPct val="110000"/>
              </a:lnSpc>
              <a:buClr>
                <a:srgbClr val="000000"/>
              </a:buClr>
              <a:tabLst>
                <a:tab pos="2423901" algn="l"/>
              </a:tabLst>
            </a:pPr>
            <a:r>
              <a:rPr lang="en-GB" sz="7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i-Lab?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2816D3BB-EBFE-9398-99A0-7D4CCF7D7447}"/>
              </a:ext>
            </a:extLst>
          </p:cNvPr>
          <p:cNvSpPr txBox="1">
            <a:spLocks/>
          </p:cNvSpPr>
          <p:nvPr/>
        </p:nvSpPr>
        <p:spPr>
          <a:xfrm>
            <a:off x="7796760" y="3285508"/>
            <a:ext cx="4159998" cy="3106418"/>
          </a:xfrm>
          <a:prstGeom prst="rect">
            <a:avLst/>
          </a:prstGeom>
        </p:spPr>
        <p:txBody>
          <a:bodyPr vert="horz" lIns="0" tIns="45330" rIns="0" bIns="4533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0C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150000" algn="ctr" defTabSz="1212565">
              <a:lnSpc>
                <a:spcPct val="110000"/>
              </a:lnSpc>
              <a:buClr>
                <a:srgbClr val="000000"/>
              </a:buClr>
              <a:tabLst>
                <a:tab pos="2417356" algn="l"/>
              </a:tabLst>
            </a:pPr>
            <a:r>
              <a:rPr lang="en-GB" sz="3590" dirty="0">
                <a:latin typeface="Aptos" panose="020B0004020202020204" pitchFamily="34" charset="0"/>
              </a:rPr>
              <a:t>An </a:t>
            </a:r>
            <a:r>
              <a:rPr lang="en-GB" sz="3590" b="1" dirty="0">
                <a:solidFill>
                  <a:srgbClr val="FF0000"/>
                </a:solidFill>
                <a:latin typeface="Aptos" panose="020B0004020202020204" pitchFamily="34" charset="0"/>
              </a:rPr>
              <a:t>ESDI platform </a:t>
            </a:r>
            <a:r>
              <a:rPr lang="en-GB" sz="3590" dirty="0">
                <a:latin typeface="Aptos" panose="020B0004020202020204" pitchFamily="34" charset="0"/>
              </a:rPr>
              <a:t>for fostering novel, use-driven, interdisciplinary research via </a:t>
            </a:r>
            <a:r>
              <a:rPr lang="en-GB" sz="3590" b="1" dirty="0">
                <a:solidFill>
                  <a:srgbClr val="FF0000"/>
                </a:solidFill>
                <a:latin typeface="Aptos" panose="020B0004020202020204" pitchFamily="34" charset="0"/>
              </a:rPr>
              <a:t>funded programmes </a:t>
            </a:r>
          </a:p>
        </p:txBody>
      </p:sp>
      <p:pic>
        <p:nvPicPr>
          <p:cNvPr id="14" name="Picture 13" descr="A satellite in space with earth and numbers&#10;&#10;AI-generated content may be incorrect.">
            <a:extLst>
              <a:ext uri="{FF2B5EF4-FFF2-40B4-BE49-F238E27FC236}">
                <a16:creationId xmlns:a16="http://schemas.microsoft.com/office/drawing/2014/main" id="{75394F24-27D3-D9A7-BF68-B7C265F817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178" y="-465323"/>
            <a:ext cx="4277985" cy="42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320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A3FD6-B702-AA73-1C50-3B9532E5B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06A69C3-7A68-77CA-615A-15F724F17EB4}"/>
              </a:ext>
            </a:extLst>
          </p:cNvPr>
          <p:cNvSpPr txBox="1">
            <a:spLocks/>
          </p:cNvSpPr>
          <p:nvPr/>
        </p:nvSpPr>
        <p:spPr>
          <a:xfrm>
            <a:off x="617811" y="932797"/>
            <a:ext cx="9440588" cy="5259024"/>
          </a:xfrm>
          <a:prstGeom prst="rect">
            <a:avLst/>
          </a:prstGeom>
          <a:ln>
            <a:noFill/>
          </a:ln>
        </p:spPr>
        <p:txBody>
          <a:bodyPr lIns="89755" anchor="ctr"/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7620" indent="0">
              <a:lnSpc>
                <a:spcPct val="120000"/>
              </a:lnSpc>
              <a:buClr>
                <a:schemeClr val="bg1"/>
              </a:buClr>
            </a:pPr>
            <a:r>
              <a:rPr lang="en-GB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DI MISSION:</a:t>
            </a:r>
          </a:p>
          <a:p>
            <a:pPr marL="7620" indent="0">
              <a:lnSpc>
                <a:spcPct val="120000"/>
              </a:lnSpc>
              <a:buClr>
                <a:schemeClr val="bg1"/>
              </a:buClr>
            </a:pPr>
            <a:r>
              <a:rPr lang="en-GB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RING MORE OF SWITZERLAND'S </a:t>
            </a:r>
            <a:r>
              <a:rPr lang="en-GB" sz="4800" b="1" dirty="0">
                <a:solidFill>
                  <a:srgbClr val="FFC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MERCIALLY RELEVANT</a:t>
            </a:r>
            <a:endParaRPr lang="en-GB" sz="4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620" indent="0">
              <a:lnSpc>
                <a:spcPct val="120000"/>
              </a:lnSpc>
              <a:buClr>
                <a:schemeClr val="bg1"/>
              </a:buClr>
            </a:pPr>
            <a:r>
              <a:rPr lang="en-GB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D </a:t>
            </a:r>
          </a:p>
          <a:p>
            <a:pPr marL="7620" indent="0">
              <a:lnSpc>
                <a:spcPct val="120000"/>
              </a:lnSpc>
              <a:buClr>
                <a:schemeClr val="bg1"/>
              </a:buClr>
            </a:pPr>
            <a:r>
              <a:rPr lang="en-GB" sz="4800" b="1" dirty="0">
                <a:solidFill>
                  <a:srgbClr val="FFC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IENTIFICALLY EXCELLENT </a:t>
            </a:r>
          </a:p>
          <a:p>
            <a:pPr marL="7620" indent="0">
              <a:lnSpc>
                <a:spcPct val="120000"/>
              </a:lnSpc>
              <a:buClr>
                <a:schemeClr val="bg1"/>
              </a:buClr>
            </a:pPr>
            <a:r>
              <a:rPr lang="en-GB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EP-TECH TO ESA AND ITS MEMBER STATES (AND VICE VERSA)</a:t>
            </a:r>
            <a:endParaRPr lang="en-US" sz="3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2136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atellite in space with earth and numbers&#10;&#10;AI-generated content may be incorrect.">
            <a:extLst>
              <a:ext uri="{FF2B5EF4-FFF2-40B4-BE49-F238E27FC236}">
                <a16:creationId xmlns:a16="http://schemas.microsoft.com/office/drawing/2014/main" id="{724DB88F-509D-1B05-F4B4-8FC5065D1B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37" t="14937" r="14972" b="9746"/>
          <a:stretch>
            <a:fillRect/>
          </a:stretch>
        </p:blipFill>
        <p:spPr>
          <a:xfrm>
            <a:off x="6442304" y="2875485"/>
            <a:ext cx="3942583" cy="3981006"/>
          </a:xfrm>
          <a:prstGeom prst="rect">
            <a:avLst/>
          </a:prstGeom>
        </p:spPr>
      </p:pic>
      <p:sp>
        <p:nvSpPr>
          <p:cNvPr id="13" name="Segnaposto testo 2">
            <a:extLst>
              <a:ext uri="{FF2B5EF4-FFF2-40B4-BE49-F238E27FC236}">
                <a16:creationId xmlns:a16="http://schemas.microsoft.com/office/drawing/2014/main" id="{09D5442F-FB47-155C-376E-2CEB5D1F5B36}"/>
              </a:ext>
            </a:extLst>
          </p:cNvPr>
          <p:cNvSpPr txBox="1">
            <a:spLocks/>
          </p:cNvSpPr>
          <p:nvPr/>
        </p:nvSpPr>
        <p:spPr>
          <a:xfrm>
            <a:off x="965699" y="718788"/>
            <a:ext cx="10747278" cy="2417741"/>
          </a:xfrm>
          <a:prstGeom prst="rect">
            <a:avLst/>
          </a:prstGeom>
        </p:spPr>
        <p:txBody>
          <a:bodyPr lIns="89755" anchor="ctr"/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100013" indent="0"/>
            <a:r>
              <a:rPr lang="en-GB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EP-TECH:</a:t>
            </a:r>
            <a:r>
              <a:rPr lang="en-GB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 knowledge-rich technology at the frontier of science and engineering, </a:t>
            </a:r>
            <a:r>
              <a:rPr lang="en-GB" sz="3600" b="1" dirty="0">
                <a:solidFill>
                  <a:srgbClr val="FFC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USHING THE BOUNDARIES OF THE POSSIBLE </a:t>
            </a:r>
            <a:r>
              <a:rPr lang="en-GB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wards.</a:t>
            </a:r>
          </a:p>
        </p:txBody>
      </p:sp>
      <p:sp>
        <p:nvSpPr>
          <p:cNvPr id="2" name="Rectangle: Rounded Corners 3">
            <a:extLst>
              <a:ext uri="{FF2B5EF4-FFF2-40B4-BE49-F238E27FC236}">
                <a16:creationId xmlns:a16="http://schemas.microsoft.com/office/drawing/2014/main" id="{5EE2E1B8-053A-6A00-57C4-43EE4EAC6591}"/>
              </a:ext>
            </a:extLst>
          </p:cNvPr>
          <p:cNvSpPr/>
          <p:nvPr/>
        </p:nvSpPr>
        <p:spPr>
          <a:xfrm>
            <a:off x="3954484" y="3970685"/>
            <a:ext cx="3707022" cy="5636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394" dirty="0">
                <a:solidFill>
                  <a:srgbClr val="11206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antum Technologies</a:t>
            </a:r>
          </a:p>
        </p:txBody>
      </p:sp>
      <p:sp>
        <p:nvSpPr>
          <p:cNvPr id="3" name="Rectangle: Rounded Corners 4">
            <a:extLst>
              <a:ext uri="{FF2B5EF4-FFF2-40B4-BE49-F238E27FC236}">
                <a16:creationId xmlns:a16="http://schemas.microsoft.com/office/drawing/2014/main" id="{5B3B932C-B307-B71E-552E-5B02E8289F7F}"/>
              </a:ext>
            </a:extLst>
          </p:cNvPr>
          <p:cNvSpPr/>
          <p:nvPr/>
        </p:nvSpPr>
        <p:spPr>
          <a:xfrm>
            <a:off x="8968342" y="3688856"/>
            <a:ext cx="3256996" cy="5636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394" dirty="0">
                <a:solidFill>
                  <a:srgbClr val="11206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erials Research</a:t>
            </a:r>
          </a:p>
        </p:txBody>
      </p:sp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6D7E8B55-CCC4-44EE-1213-EC784CF3DC70}"/>
              </a:ext>
            </a:extLst>
          </p:cNvPr>
          <p:cNvSpPr/>
          <p:nvPr/>
        </p:nvSpPr>
        <p:spPr>
          <a:xfrm>
            <a:off x="9489021" y="4502227"/>
            <a:ext cx="1755997" cy="56365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394">
                <a:solidFill>
                  <a:srgbClr val="11206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13EB08-57E6-E432-6908-142C5F4787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3030" y="4435266"/>
            <a:ext cx="735804" cy="7358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6E1039-F43A-919D-8333-7D554C897D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406" y="3561294"/>
            <a:ext cx="812763" cy="8187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99E7D00-0987-5C41-D8C0-522FF82C89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855" y="3873528"/>
            <a:ext cx="812763" cy="812763"/>
          </a:xfrm>
          <a:prstGeom prst="rect">
            <a:avLst/>
          </a:prstGeom>
        </p:spPr>
      </p:pic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D12D24FC-D15C-3788-5121-256DB00BF500}"/>
              </a:ext>
            </a:extLst>
          </p:cNvPr>
          <p:cNvSpPr txBox="1">
            <a:spLocks/>
          </p:cNvSpPr>
          <p:nvPr/>
        </p:nvSpPr>
        <p:spPr>
          <a:xfrm>
            <a:off x="1007427" y="2654409"/>
            <a:ext cx="4574746" cy="2516661"/>
          </a:xfrm>
          <a:prstGeom prst="rect">
            <a:avLst/>
          </a:prstGeom>
        </p:spPr>
        <p:txBody>
          <a:bodyPr lIns="89755" anchor="ctr"/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100013" indent="0"/>
            <a:r>
              <a:rPr lang="en-GB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I-LAB FOCUS TOPICS:</a:t>
            </a:r>
            <a:endParaRPr lang="en-GB" sz="3600" dirty="0">
              <a:solidFill>
                <a:schemeClr val="accent5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6832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D809E-077F-3425-B4BF-627BDCD89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711399C-0598-DC21-5A30-61D5DBF1E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704281"/>
              </p:ext>
            </p:extLst>
          </p:nvPr>
        </p:nvGraphicFramePr>
        <p:xfrm>
          <a:off x="1688767" y="1186628"/>
          <a:ext cx="7620648" cy="4880663"/>
        </p:xfrm>
        <a:graphic>
          <a:graphicData uri="http://schemas.openxmlformats.org/drawingml/2006/table">
            <a:tbl>
              <a:tblPr/>
              <a:tblGrid>
                <a:gridCol w="2540216">
                  <a:extLst>
                    <a:ext uri="{9D8B030D-6E8A-4147-A177-3AD203B41FA5}">
                      <a16:colId xmlns:a16="http://schemas.microsoft.com/office/drawing/2014/main" val="3265005890"/>
                    </a:ext>
                  </a:extLst>
                </a:gridCol>
                <a:gridCol w="2540216">
                  <a:extLst>
                    <a:ext uri="{9D8B030D-6E8A-4147-A177-3AD203B41FA5}">
                      <a16:colId xmlns:a16="http://schemas.microsoft.com/office/drawing/2014/main" val="4002710977"/>
                    </a:ext>
                  </a:extLst>
                </a:gridCol>
                <a:gridCol w="2540216">
                  <a:extLst>
                    <a:ext uri="{9D8B030D-6E8A-4147-A177-3AD203B41FA5}">
                      <a16:colId xmlns:a16="http://schemas.microsoft.com/office/drawing/2014/main" val="2943342670"/>
                    </a:ext>
                  </a:extLst>
                </a:gridCol>
              </a:tblGrid>
              <a:tr h="928667">
                <a:tc>
                  <a:txBody>
                    <a:bodyPr/>
                    <a:lstStyle/>
                    <a:p>
                      <a:pPr algn="l" fontAlgn="auto">
                        <a:lnSpc>
                          <a:spcPts val="2775"/>
                        </a:lnSpc>
                        <a:buNone/>
                      </a:pPr>
                      <a:r>
                        <a:rPr lang="en-GB" sz="2300" b="1" i="0">
                          <a:solidFill>
                            <a:srgbClr val="E7E8E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</a:p>
                  </a:txBody>
                  <a:tcPr anchor="b"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Practical Use</a:t>
                      </a:r>
                      <a:r>
                        <a:rPr lang="en-US" sz="2300" b="1" i="0">
                          <a:solidFill>
                            <a:srgbClr val="FEFFF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1" i="0">
                          <a:solidFill>
                            <a:srgbClr val="FEFFF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No</a:t>
                      </a:r>
                      <a:r>
                        <a:rPr lang="en-US" sz="2300" b="1" i="0">
                          <a:solidFill>
                            <a:srgbClr val="FEFFF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endParaRPr lang="en-US" b="1" i="0">
                        <a:solidFill>
                          <a:srgbClr val="FEFFFF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b"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1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Yes</a:t>
                      </a:r>
                      <a:r>
                        <a:rPr lang="en-US" sz="2300" b="1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</a:p>
                  </a:txBody>
                  <a:tcPr anchor="b"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036772"/>
                  </a:ext>
                </a:extLst>
              </a:tr>
              <a:tr h="2032750"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Quest for fundamental </a:t>
                      </a:r>
                    </a:p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nderstanding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Yes​</a:t>
                      </a:r>
                      <a:endParaRPr lang="en-US" b="0" i="0" dirty="0">
                        <a:solidFill>
                          <a:srgbClr val="003249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b"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Pure basic research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1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Bohr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endParaRPr lang="en-US" b="0" i="0" dirty="0">
                        <a:solidFill>
                          <a:srgbClr val="003249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CF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se-inspired basic research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1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Pasteur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endParaRPr lang="en-US" b="0" i="0" dirty="0">
                        <a:solidFill>
                          <a:srgbClr val="003249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32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B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87003"/>
                  </a:ext>
                </a:extLst>
              </a:tr>
              <a:tr h="1919246"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0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No​</a:t>
                      </a:r>
                      <a:endParaRPr lang="en-US" b="0" i="0">
                        <a:solidFill>
                          <a:srgbClr val="003249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b"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2775"/>
                        </a:lnSpc>
                        <a:buNone/>
                      </a:pPr>
                      <a:r>
                        <a:rPr lang="en-GB" sz="2300" b="0" i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</a:p>
                  </a:txBody>
                  <a:tcPr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775"/>
                        </a:lnSpc>
                        <a:buNone/>
                      </a:pPr>
                      <a:r>
                        <a:rPr lang="en-US" sz="2300" b="1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Pure applied research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b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</a:br>
                      <a:r>
                        <a:rPr lang="en-US" sz="2300" b="0" i="1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dison</a:t>
                      </a:r>
                      <a:r>
                        <a:rPr lang="en-US" sz="2300" b="0" i="0" dirty="0">
                          <a:solidFill>
                            <a:srgbClr val="003249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​</a:t>
                      </a:r>
                      <a:endParaRPr lang="en-US" b="0" i="0" dirty="0">
                        <a:solidFill>
                          <a:srgbClr val="003249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lnL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611" cap="flat" cmpd="sng" algn="ctr">
                      <a:solidFill>
                        <a:srgbClr val="FE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CF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18331"/>
                  </a:ext>
                </a:extLst>
              </a:tr>
            </a:tbl>
          </a:graphicData>
        </a:graphic>
      </p:graphicFrame>
      <p:sp>
        <p:nvSpPr>
          <p:cNvPr id="10" name="Rectangle 1">
            <a:extLst>
              <a:ext uri="{FF2B5EF4-FFF2-40B4-BE49-F238E27FC236}">
                <a16:creationId xmlns:a16="http://schemas.microsoft.com/office/drawing/2014/main" id="{608FD426-A469-1BF2-E383-A611F3EBEE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4886" y="790709"/>
            <a:ext cx="121920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CH" altLang="en-CH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</a:t>
            </a:r>
            <a:endParaRPr lang="en-CH" altLang="en-CH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en-CH" altLang="en-CH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7FC09B-E553-1BB6-8A49-3844BBD8A889}"/>
              </a:ext>
            </a:extLst>
          </p:cNvPr>
          <p:cNvSpPr txBox="1"/>
          <p:nvPr/>
        </p:nvSpPr>
        <p:spPr>
          <a:xfrm>
            <a:off x="1688767" y="6304183"/>
            <a:ext cx="94662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Stokes, Donald E. 1997. </a:t>
            </a:r>
            <a:r>
              <a:rPr lang="en-GB" sz="1400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teur's quadrant: basic science and technological innovation</a:t>
            </a:r>
            <a:r>
              <a:rPr lang="en-GB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Washington, D.C: Brookings Institution Press.​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9893FE-3F92-C334-BC3F-50F4B6A6746D}"/>
              </a:ext>
            </a:extLst>
          </p:cNvPr>
          <p:cNvSpPr/>
          <p:nvPr/>
        </p:nvSpPr>
        <p:spPr>
          <a:xfrm>
            <a:off x="6754761" y="2123768"/>
            <a:ext cx="2580968" cy="2020529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719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73900C2-E11D-35A6-E8D1-8F89E4D9B5B5}"/>
              </a:ext>
            </a:extLst>
          </p:cNvPr>
          <p:cNvSpPr txBox="1">
            <a:spLocks/>
          </p:cNvSpPr>
          <p:nvPr/>
        </p:nvSpPr>
        <p:spPr>
          <a:xfrm>
            <a:off x="681892" y="396746"/>
            <a:ext cx="10108800" cy="56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3247"/>
                </a:solidFill>
                <a:latin typeface="NotesEsa" panose="02000506030000020004" pitchFamily="2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I-LAB Programmatic </a:t>
            </a:r>
            <a:r>
              <a:rPr lang="en-US" sz="36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rs</a:t>
            </a:r>
            <a:endParaRPr lang="en-US" sz="36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auto">
              <a:spcAft>
                <a:spcPts val="0"/>
              </a:spcAft>
            </a:pPr>
            <a:endParaRPr lang="en-US" sz="3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17BA6131-48D2-5D19-500C-73ED8D4BF4C0}"/>
              </a:ext>
            </a:extLst>
          </p:cNvPr>
          <p:cNvSpPr txBox="1">
            <a:spLocks/>
          </p:cNvSpPr>
          <p:nvPr/>
        </p:nvSpPr>
        <p:spPr>
          <a:xfrm>
            <a:off x="6277970" y="1047312"/>
            <a:ext cx="5947368" cy="5540881"/>
          </a:xfrm>
          <a:prstGeom prst="rect">
            <a:avLst/>
          </a:prstGeom>
        </p:spPr>
        <p:txBody>
          <a:bodyPr lIns="89755" anchor="ctr"/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ll duration max. 2y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unding per call: ~CHF 2-4m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. funding per project CHF 990k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  <a:r>
              <a:rPr lang="en-GB" sz="2400" b="1" baseline="30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hi-Lab Phase: ~5 Calls (2 p.a.)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tal Program funding: ~CHF 14.5m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24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tential additional financial “</a:t>
            </a:r>
            <a:r>
              <a:rPr lang="en-GB" sz="2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oost</a:t>
            </a:r>
            <a:r>
              <a:rPr lang="en-GB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” of select, outstanding projects</a:t>
            </a: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24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57213" indent="-45720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accent5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E111C3E0-2AB9-F537-4D60-896DE82FC47E}"/>
              </a:ext>
            </a:extLst>
          </p:cNvPr>
          <p:cNvSpPr txBox="1">
            <a:spLocks/>
          </p:cNvSpPr>
          <p:nvPr/>
        </p:nvSpPr>
        <p:spPr>
          <a:xfrm>
            <a:off x="415636" y="5634953"/>
            <a:ext cx="6982691" cy="1014876"/>
          </a:xfrm>
          <a:prstGeom prst="rect">
            <a:avLst/>
          </a:prstGeom>
        </p:spPr>
        <p:txBody>
          <a:bodyPr lIns="89755" anchor="ctr"/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100013" indent="0"/>
            <a:r>
              <a:rPr lang="en-GB" sz="3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unding also available for Industry</a:t>
            </a:r>
            <a:endParaRPr lang="en-GB" sz="3400" dirty="0">
              <a:solidFill>
                <a:srgbClr val="FF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Graphic 2" descr="Rocket with solid fill">
            <a:extLst>
              <a:ext uri="{FF2B5EF4-FFF2-40B4-BE49-F238E27FC236}">
                <a16:creationId xmlns:a16="http://schemas.microsoft.com/office/drawing/2014/main" id="{C389EF52-9A99-FCA6-6C63-32BB15D8E9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5302" y="5056832"/>
            <a:ext cx="914400" cy="914400"/>
          </a:xfrm>
          <a:prstGeom prst="rect">
            <a:avLst/>
          </a:prstGeom>
        </p:spPr>
      </p:pic>
      <p:pic>
        <p:nvPicPr>
          <p:cNvPr id="8" name="Picture 7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FBB12150-B8FA-91EE-BEF4-26AB413DD8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92" y="917140"/>
            <a:ext cx="5702300" cy="478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4757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0C5C3-27B3-E81B-592C-C5F16E1749A3}"/>
              </a:ext>
            </a:extLst>
          </p:cNvPr>
          <p:cNvSpPr txBox="1">
            <a:spLocks/>
          </p:cNvSpPr>
          <p:nvPr/>
        </p:nvSpPr>
        <p:spPr>
          <a:xfrm>
            <a:off x="510722" y="330188"/>
            <a:ext cx="10108800" cy="56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3247"/>
                </a:solidFill>
                <a:latin typeface="NotesEsa" panose="02000506030000020004" pitchFamily="2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ANTUM CALL 2025</a:t>
            </a:r>
          </a:p>
          <a:p>
            <a:pPr fontAlgn="auto">
              <a:spcAft>
                <a:spcPts val="0"/>
              </a:spcAft>
            </a:pP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Q-CPR”</a:t>
            </a:r>
          </a:p>
          <a:p>
            <a:pPr fontAlgn="auto">
              <a:spcAft>
                <a:spcPts val="0"/>
              </a:spcAft>
            </a:pPr>
            <a:endParaRPr lang="en-US" sz="3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D22961-E9B0-CC64-19CA-7AD42B0E0B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558" y="1503622"/>
            <a:ext cx="3182667" cy="3182667"/>
          </a:xfrm>
          <a:prstGeom prst="rect">
            <a:avLst/>
          </a:prstGeom>
        </p:spPr>
      </p:pic>
      <p:pic>
        <p:nvPicPr>
          <p:cNvPr id="8" name="Picture 7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7657BC4D-56B0-EEC2-196A-FF571ECBDB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22" y="2034563"/>
            <a:ext cx="7772400" cy="212078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004FDFB-3832-68F5-1DA3-1BF6C33FF601}"/>
              </a:ext>
            </a:extLst>
          </p:cNvPr>
          <p:cNvSpPr txBox="1"/>
          <p:nvPr/>
        </p:nvSpPr>
        <p:spPr>
          <a:xfrm>
            <a:off x="2072071" y="4686289"/>
            <a:ext cx="808119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hallenge:</a:t>
            </a:r>
          </a:p>
          <a:p>
            <a:pPr algn="ctr"/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 least </a:t>
            </a:r>
            <a:r>
              <a:rPr lang="en-GB" sz="4800" b="1" u="none" strike="noStrike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x</a:t>
            </a:r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mprovement  in </a:t>
            </a:r>
            <a:r>
              <a:rPr lang="en-GB" sz="3200" b="1" u="none" strike="noStrike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</a:t>
            </a:r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mpactness, </a:t>
            </a:r>
            <a:r>
              <a:rPr lang="en-GB" sz="3200" b="1" u="none" strike="noStrike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</a:t>
            </a:r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formance, or </a:t>
            </a:r>
            <a:r>
              <a:rPr lang="en-GB" sz="3200" b="1" u="none" strike="noStrike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</a:t>
            </a:r>
            <a:r>
              <a:rPr lang="en-GB" sz="3200" b="1" u="none" strike="noStrike" dirty="0">
                <a:solidFill>
                  <a:srgbClr val="FDF7F6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iability</a:t>
            </a:r>
            <a:endParaRPr lang="en-GB" sz="32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972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4D0F5C-0D42-2D83-30F1-9B3A31718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>
            <a:extLst>
              <a:ext uri="{FF2B5EF4-FFF2-40B4-BE49-F238E27FC236}">
                <a16:creationId xmlns:a16="http://schemas.microsoft.com/office/drawing/2014/main" id="{36ADF501-3636-C018-CFE4-8FCF674EC5B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70267" y="367364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Grafik 7" descr="Ein Bild, das Kreis, Muster, Symmetrie, Kunst enthält.&#10;&#10;KI-generierte Inhalte können fehlerhaft sein.">
            <a:extLst>
              <a:ext uri="{FF2B5EF4-FFF2-40B4-BE49-F238E27FC236}">
                <a16:creationId xmlns:a16="http://schemas.microsoft.com/office/drawing/2014/main" id="{23FBBCCA-807B-7EA6-62DF-419282724F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0373" y="1494502"/>
            <a:ext cx="3103656" cy="312952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CF88831-B54D-6D76-5935-14C5147AB808}"/>
              </a:ext>
            </a:extLst>
          </p:cNvPr>
          <p:cNvSpPr txBox="1">
            <a:spLocks/>
          </p:cNvSpPr>
          <p:nvPr/>
        </p:nvSpPr>
        <p:spPr bwMode="auto">
          <a:xfrm>
            <a:off x="1317781" y="5196160"/>
            <a:ext cx="9409772" cy="186264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5pPr>
            <a:lvl6pPr marL="441048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6pPr>
            <a:lvl7pPr marL="882098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7pPr>
            <a:lvl8pPr marL="1323147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8pPr>
            <a:lvl9pPr marL="1764197" algn="l" rtl="0" eaLnBrk="1" fontAlgn="base" hangingPunct="1">
              <a:spcBef>
                <a:spcPct val="0"/>
              </a:spcBef>
              <a:spcAft>
                <a:spcPct val="0"/>
              </a:spcAft>
              <a:defRPr sz="2121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hallenge: </a:t>
            </a:r>
          </a:p>
          <a:p>
            <a:pPr algn="ctr"/>
            <a:r>
              <a:rPr lang="en-US" sz="3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monstrate a step change in AM for autonomous spacecraft integrity in </a:t>
            </a:r>
            <a:r>
              <a:rPr lang="en-US" sz="3200" kern="0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treme conditions</a:t>
            </a:r>
          </a:p>
          <a:p>
            <a:pPr algn="ctr"/>
            <a:endParaRPr lang="en-US" sz="3200" kern="0" dirty="0">
              <a:solidFill>
                <a:schemeClr val="accent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3200" kern="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3200" kern="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Picture 2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CA6CBB18-592A-AFF2-64C5-D5E0BC48A0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205" y="1543030"/>
            <a:ext cx="6688271" cy="300548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BE8147F-636F-7A15-52DB-BE600566BF7B}"/>
              </a:ext>
            </a:extLst>
          </p:cNvPr>
          <p:cNvSpPr txBox="1">
            <a:spLocks/>
          </p:cNvSpPr>
          <p:nvPr/>
        </p:nvSpPr>
        <p:spPr>
          <a:xfrm>
            <a:off x="510722" y="330188"/>
            <a:ext cx="10108800" cy="56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3247"/>
                </a:solidFill>
                <a:latin typeface="NotesEsa" panose="02000506030000020004" pitchFamily="2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ERIALS CALL 2025</a:t>
            </a:r>
          </a:p>
          <a:p>
            <a:pPr fontAlgn="auto">
              <a:spcAft>
                <a:spcPts val="0"/>
              </a:spcAft>
            </a:pP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AM-XTREME”</a:t>
            </a:r>
          </a:p>
          <a:p>
            <a:pPr fontAlgn="auto">
              <a:spcAft>
                <a:spcPts val="0"/>
              </a:spcAft>
            </a:pPr>
            <a:endParaRPr lang="en-US" sz="3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281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9.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heme/theme1.xml><?xml version="1.0" encoding="utf-8"?>
<a:theme xmlns:a="http://schemas.openxmlformats.org/drawingml/2006/main" name="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10.xml><?xml version="1.0" encoding="utf-8"?>
<a:theme xmlns:a="http://schemas.openxmlformats.org/drawingml/2006/main" name="1_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09097DF0-382D-424A-9165-E801FB7EB7C7}" vid="{BDE7B75B-A53E-4A0C-A018-324417FC5F25}"/>
    </a:ext>
  </a:extLst>
</a:theme>
</file>

<file path=ppt/theme/theme11.xml><?xml version="1.0" encoding="utf-8"?>
<a:theme xmlns:a="http://schemas.openxmlformats.org/drawingml/2006/main" name="4_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12.xml><?xml version="1.0" encoding="utf-8"?>
<a:theme xmlns:a="http://schemas.openxmlformats.org/drawingml/2006/main" name="ESA50_Anniv_Cover_Master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13.xml><?xml version="1.0" encoding="utf-8"?>
<a:theme xmlns:a="http://schemas.openxmlformats.org/drawingml/2006/main" name="3_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5728CBC8-CAA7-4071-9A7F-DE59D54759B9}"/>
    </a:ext>
  </a:extLst>
</a:theme>
</file>

<file path=ppt/theme/theme14.xml><?xml version="1.0" encoding="utf-8"?>
<a:theme xmlns:a="http://schemas.openxmlformats.org/drawingml/2006/main" name="5_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5728CBC8-CAA7-4071-9A7F-DE59D54759B9}"/>
    </a:ext>
  </a:extLst>
</a:theme>
</file>

<file path=ppt/theme/theme3.xml><?xml version="1.0" encoding="utf-8"?>
<a:theme xmlns:a="http://schemas.openxmlformats.org/drawingml/2006/main" name="Benutzerdefiniertes Design">
  <a:themeElements>
    <a:clrScheme name="PSI">
      <a:dk1>
        <a:sysClr val="windowText" lastClr="000000"/>
      </a:dk1>
      <a:lt1>
        <a:sysClr val="window" lastClr="FFFFFF"/>
      </a:lt1>
      <a:dk2>
        <a:srgbClr val="4B4B4B"/>
      </a:dk2>
      <a:lt2>
        <a:srgbClr val="B9B9B9"/>
      </a:lt2>
      <a:accent1>
        <a:srgbClr val="0014E6"/>
      </a:accent1>
      <a:accent2>
        <a:srgbClr val="00F0A0"/>
      </a:accent2>
      <a:accent3>
        <a:srgbClr val="DC005A"/>
      </a:accent3>
      <a:accent4>
        <a:srgbClr val="6E14DC"/>
      </a:accent4>
      <a:accent5>
        <a:srgbClr val="F0F500"/>
      </a:accent5>
      <a:accent6>
        <a:srgbClr val="F050FA"/>
      </a:accent6>
      <a:hlink>
        <a:srgbClr val="000000"/>
      </a:hlink>
      <a:folHlink>
        <a:srgbClr val="000000"/>
      </a:folHlink>
    </a:clrScheme>
    <a:fontScheme name="PSI">
      <a:majorFont>
        <a:latin typeface="Aptos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PSI EN V8" id="{2132D999-342E-469F-8993-5F7C72A68671}" vid="{1534A763-A16F-4C1F-A36D-9470E56E94CE}"/>
    </a:ext>
  </a:extLst>
</a:theme>
</file>

<file path=ppt/theme/theme4.xml><?xml version="1.0" encoding="utf-8"?>
<a:theme xmlns:a="http://schemas.openxmlformats.org/drawingml/2006/main" name="ECG templates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SA_Commercialisation_PPT_template_v.27.1.2023.pptx" id="{18319703-57E0-4555-960F-A38A92EA408E}" vid="{CD50D610-AFB8-449A-AD43-09A017D1FCE2}"/>
    </a:ext>
  </a:extLst>
</a:theme>
</file>

<file path=ppt/theme/theme5.xml><?xml version="1.0" encoding="utf-8"?>
<a:theme xmlns:a="http://schemas.openxmlformats.org/drawingml/2006/main" name="1_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5728CBC8-CAA7-4071-9A7F-DE59D54759B9}"/>
    </a:ext>
  </a:extLst>
</a:theme>
</file>

<file path=ppt/theme/theme6.xml><?xml version="1.0" encoding="utf-8"?>
<a:theme xmlns:a="http://schemas.openxmlformats.org/drawingml/2006/main" name="2_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7.xml><?xml version="1.0" encoding="utf-8"?>
<a:theme xmlns:a="http://schemas.openxmlformats.org/drawingml/2006/main" name="ESA_blue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NotesEsa">
      <a:majorFont>
        <a:latin typeface="NotesEsa"/>
        <a:ea typeface=""/>
        <a:cs typeface=""/>
      </a:majorFont>
      <a:minorFont>
        <a:latin typeface="NotesEs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bg1"/>
            </a:solidFill>
            <a:latin typeface="NotesEsa" panose="02000506030000020004" pitchFamily="2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6AA67823-AB11-4C2B-8D34-BC63FAC8D624}"/>
    </a:ext>
  </a:extLst>
</a:theme>
</file>

<file path=ppt/theme/theme8.xml><?xml version="1.0" encoding="utf-8"?>
<a:theme xmlns:a="http://schemas.openxmlformats.org/drawingml/2006/main" name="3_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8967B6AB-2C75-400A-B182-0E6B80AF08E2}" vid="{9330923B-8557-418D-B6D0-2539E05C9992}"/>
    </a:ext>
  </a:extLst>
</a:theme>
</file>

<file path=ppt/theme/theme9.xml><?xml version="1.0" encoding="utf-8"?>
<a:theme xmlns:a="http://schemas.openxmlformats.org/drawingml/2006/main" name="2_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  <a:extLst>
            <a:ext uri="{C807C97D-BFC1-408E-A445-0C87EB9F89A2}">
              <ask:lineSketchStyleProps xmlns:ask="http://schemas.microsoft.com/office/drawing/2018/sketchyshapes" sd="1219033472">
                <a:custGeom>
                  <a:avLst/>
                  <a:gdLst>
                    <a:gd name="connsiteX0" fmla="*/ 0 w 2729753"/>
                    <a:gd name="connsiteY0" fmla="*/ 0 h 2031325"/>
                    <a:gd name="connsiteX1" fmla="*/ 491356 w 2729753"/>
                    <a:gd name="connsiteY1" fmla="*/ 0 h 2031325"/>
                    <a:gd name="connsiteX2" fmla="*/ 1064604 w 2729753"/>
                    <a:gd name="connsiteY2" fmla="*/ 0 h 2031325"/>
                    <a:gd name="connsiteX3" fmla="*/ 1583257 w 2729753"/>
                    <a:gd name="connsiteY3" fmla="*/ 0 h 2031325"/>
                    <a:gd name="connsiteX4" fmla="*/ 2074612 w 2729753"/>
                    <a:gd name="connsiteY4" fmla="*/ 0 h 2031325"/>
                    <a:gd name="connsiteX5" fmla="*/ 2729753 w 2729753"/>
                    <a:gd name="connsiteY5" fmla="*/ 0 h 2031325"/>
                    <a:gd name="connsiteX6" fmla="*/ 2729753 w 2729753"/>
                    <a:gd name="connsiteY6" fmla="*/ 507831 h 2031325"/>
                    <a:gd name="connsiteX7" fmla="*/ 2729753 w 2729753"/>
                    <a:gd name="connsiteY7" fmla="*/ 1015663 h 2031325"/>
                    <a:gd name="connsiteX8" fmla="*/ 2729753 w 2729753"/>
                    <a:gd name="connsiteY8" fmla="*/ 1482867 h 2031325"/>
                    <a:gd name="connsiteX9" fmla="*/ 2729753 w 2729753"/>
                    <a:gd name="connsiteY9" fmla="*/ 2031325 h 2031325"/>
                    <a:gd name="connsiteX10" fmla="*/ 2238397 w 2729753"/>
                    <a:gd name="connsiteY10" fmla="*/ 2031325 h 2031325"/>
                    <a:gd name="connsiteX11" fmla="*/ 1774339 w 2729753"/>
                    <a:gd name="connsiteY11" fmla="*/ 2031325 h 2031325"/>
                    <a:gd name="connsiteX12" fmla="*/ 1201091 w 2729753"/>
                    <a:gd name="connsiteY12" fmla="*/ 2031325 h 2031325"/>
                    <a:gd name="connsiteX13" fmla="*/ 709736 w 2729753"/>
                    <a:gd name="connsiteY13" fmla="*/ 2031325 h 2031325"/>
                    <a:gd name="connsiteX14" fmla="*/ 0 w 2729753"/>
                    <a:gd name="connsiteY14" fmla="*/ 2031325 h 2031325"/>
                    <a:gd name="connsiteX15" fmla="*/ 0 w 2729753"/>
                    <a:gd name="connsiteY15" fmla="*/ 1482867 h 2031325"/>
                    <a:gd name="connsiteX16" fmla="*/ 0 w 2729753"/>
                    <a:gd name="connsiteY16" fmla="*/ 1015663 h 2031325"/>
                    <a:gd name="connsiteX17" fmla="*/ 0 w 2729753"/>
                    <a:gd name="connsiteY17" fmla="*/ 487518 h 2031325"/>
                    <a:gd name="connsiteX18" fmla="*/ 0 w 2729753"/>
                    <a:gd name="connsiteY18" fmla="*/ 0 h 203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729753" h="2031325" fill="none" extrusionOk="0">
                      <a:moveTo>
                        <a:pt x="0" y="0"/>
                      </a:moveTo>
                      <a:cubicBezTo>
                        <a:pt x="227584" y="-41056"/>
                        <a:pt x="247527" y="28689"/>
                        <a:pt x="491356" y="0"/>
                      </a:cubicBezTo>
                      <a:cubicBezTo>
                        <a:pt x="735185" y="-28689"/>
                        <a:pt x="844886" y="2079"/>
                        <a:pt x="1064604" y="0"/>
                      </a:cubicBezTo>
                      <a:cubicBezTo>
                        <a:pt x="1284322" y="-2079"/>
                        <a:pt x="1392056" y="4455"/>
                        <a:pt x="1583257" y="0"/>
                      </a:cubicBezTo>
                      <a:cubicBezTo>
                        <a:pt x="1774458" y="-4455"/>
                        <a:pt x="1943998" y="11000"/>
                        <a:pt x="2074612" y="0"/>
                      </a:cubicBezTo>
                      <a:cubicBezTo>
                        <a:pt x="2205227" y="-11000"/>
                        <a:pt x="2510837" y="43139"/>
                        <a:pt x="2729753" y="0"/>
                      </a:cubicBezTo>
                      <a:cubicBezTo>
                        <a:pt x="2786906" y="141444"/>
                        <a:pt x="2715141" y="389566"/>
                        <a:pt x="2729753" y="507831"/>
                      </a:cubicBezTo>
                      <a:cubicBezTo>
                        <a:pt x="2744365" y="626096"/>
                        <a:pt x="2709086" y="892506"/>
                        <a:pt x="2729753" y="1015663"/>
                      </a:cubicBezTo>
                      <a:cubicBezTo>
                        <a:pt x="2750420" y="1138820"/>
                        <a:pt x="2685332" y="1262662"/>
                        <a:pt x="2729753" y="1482867"/>
                      </a:cubicBezTo>
                      <a:cubicBezTo>
                        <a:pt x="2774174" y="1703072"/>
                        <a:pt x="2696322" y="1895687"/>
                        <a:pt x="2729753" y="2031325"/>
                      </a:cubicBezTo>
                      <a:cubicBezTo>
                        <a:pt x="2574040" y="2087851"/>
                        <a:pt x="2483065" y="2007263"/>
                        <a:pt x="2238397" y="2031325"/>
                      </a:cubicBezTo>
                      <a:cubicBezTo>
                        <a:pt x="1993729" y="2055387"/>
                        <a:pt x="1891634" y="1997839"/>
                        <a:pt x="1774339" y="2031325"/>
                      </a:cubicBezTo>
                      <a:cubicBezTo>
                        <a:pt x="1657044" y="2064811"/>
                        <a:pt x="1327575" y="1992703"/>
                        <a:pt x="1201091" y="2031325"/>
                      </a:cubicBezTo>
                      <a:cubicBezTo>
                        <a:pt x="1074607" y="2069947"/>
                        <a:pt x="886905" y="1979671"/>
                        <a:pt x="709736" y="2031325"/>
                      </a:cubicBezTo>
                      <a:cubicBezTo>
                        <a:pt x="532567" y="2082979"/>
                        <a:pt x="192359" y="2017429"/>
                        <a:pt x="0" y="2031325"/>
                      </a:cubicBezTo>
                      <a:cubicBezTo>
                        <a:pt x="-62131" y="1810769"/>
                        <a:pt x="3640" y="1719538"/>
                        <a:pt x="0" y="1482867"/>
                      </a:cubicBezTo>
                      <a:cubicBezTo>
                        <a:pt x="-3640" y="1246196"/>
                        <a:pt x="34480" y="1193928"/>
                        <a:pt x="0" y="1015663"/>
                      </a:cubicBezTo>
                      <a:cubicBezTo>
                        <a:pt x="-34480" y="837398"/>
                        <a:pt x="5177" y="680686"/>
                        <a:pt x="0" y="487518"/>
                      </a:cubicBezTo>
                      <a:cubicBezTo>
                        <a:pt x="-5177" y="294351"/>
                        <a:pt x="49656" y="209289"/>
                        <a:pt x="0" y="0"/>
                      </a:cubicBezTo>
                      <a:close/>
                    </a:path>
                    <a:path w="2729753" h="2031325" stroke="0" extrusionOk="0">
                      <a:moveTo>
                        <a:pt x="0" y="0"/>
                      </a:moveTo>
                      <a:cubicBezTo>
                        <a:pt x="120835" y="-38723"/>
                        <a:pt x="397579" y="22019"/>
                        <a:pt x="518653" y="0"/>
                      </a:cubicBezTo>
                      <a:cubicBezTo>
                        <a:pt x="639727" y="-22019"/>
                        <a:pt x="843991" y="41041"/>
                        <a:pt x="982711" y="0"/>
                      </a:cubicBezTo>
                      <a:cubicBezTo>
                        <a:pt x="1121431" y="-41041"/>
                        <a:pt x="1318243" y="25839"/>
                        <a:pt x="1583257" y="0"/>
                      </a:cubicBezTo>
                      <a:cubicBezTo>
                        <a:pt x="1848271" y="-25839"/>
                        <a:pt x="1988585" y="47053"/>
                        <a:pt x="2101910" y="0"/>
                      </a:cubicBezTo>
                      <a:cubicBezTo>
                        <a:pt x="2215235" y="-47053"/>
                        <a:pt x="2538506" y="16349"/>
                        <a:pt x="2729753" y="0"/>
                      </a:cubicBezTo>
                      <a:cubicBezTo>
                        <a:pt x="2755613" y="272633"/>
                        <a:pt x="2721231" y="319518"/>
                        <a:pt x="2729753" y="548458"/>
                      </a:cubicBezTo>
                      <a:cubicBezTo>
                        <a:pt x="2738275" y="777398"/>
                        <a:pt x="2721501" y="857436"/>
                        <a:pt x="2729753" y="1056289"/>
                      </a:cubicBezTo>
                      <a:cubicBezTo>
                        <a:pt x="2738005" y="1255142"/>
                        <a:pt x="2689944" y="1440408"/>
                        <a:pt x="2729753" y="1564120"/>
                      </a:cubicBezTo>
                      <a:cubicBezTo>
                        <a:pt x="2769562" y="1687832"/>
                        <a:pt x="2709719" y="1890942"/>
                        <a:pt x="2729753" y="2031325"/>
                      </a:cubicBezTo>
                      <a:cubicBezTo>
                        <a:pt x="2601723" y="2079605"/>
                        <a:pt x="2472928" y="2016553"/>
                        <a:pt x="2238397" y="2031325"/>
                      </a:cubicBezTo>
                      <a:cubicBezTo>
                        <a:pt x="2003866" y="2046097"/>
                        <a:pt x="1872094" y="2006837"/>
                        <a:pt x="1692447" y="2031325"/>
                      </a:cubicBezTo>
                      <a:cubicBezTo>
                        <a:pt x="1512800" y="2055813"/>
                        <a:pt x="1363304" y="2025004"/>
                        <a:pt x="1173794" y="2031325"/>
                      </a:cubicBezTo>
                      <a:cubicBezTo>
                        <a:pt x="984284" y="2037646"/>
                        <a:pt x="858600" y="1995308"/>
                        <a:pt x="573248" y="2031325"/>
                      </a:cubicBezTo>
                      <a:cubicBezTo>
                        <a:pt x="287896" y="2067342"/>
                        <a:pt x="259403" y="2007301"/>
                        <a:pt x="0" y="2031325"/>
                      </a:cubicBezTo>
                      <a:cubicBezTo>
                        <a:pt x="-29156" y="1821537"/>
                        <a:pt x="27134" y="1659726"/>
                        <a:pt x="0" y="1564120"/>
                      </a:cubicBezTo>
                      <a:cubicBezTo>
                        <a:pt x="-27134" y="1468514"/>
                        <a:pt x="45951" y="1159593"/>
                        <a:pt x="0" y="1056289"/>
                      </a:cubicBezTo>
                      <a:cubicBezTo>
                        <a:pt x="-45951" y="952985"/>
                        <a:pt x="39534" y="749356"/>
                        <a:pt x="0" y="568771"/>
                      </a:cubicBezTo>
                      <a:cubicBezTo>
                        <a:pt x="-39534" y="388186"/>
                        <a:pt x="17956" y="137037"/>
                        <a:pt x="0" y="0"/>
                      </a:cubicBezTo>
                      <a:close/>
                    </a:path>
                  </a:pathLst>
                </a:custGeom>
                <ask:type>
                  <ask:lineSketchNone/>
                </ask:type>
              </ask:lineSketchStyleProps>
            </a:ext>
          </a:extLst>
        </a:ln>
      </a:spPr>
      <a:bodyPr wrap="none" lIns="180000" tIns="180000" rIns="180000" bIns="180000" rtlCol="0" anchor="ctr" anchorCtr="1">
        <a:spAutoFit/>
      </a:bodyPr>
      <a:lstStyle>
        <a:defPPr algn="l">
          <a:defRPr sz="2000" b="1" dirty="0" smtClean="0">
            <a:solidFill>
              <a:schemeClr val="tx1"/>
            </a:solidFill>
            <a:effectLst/>
            <a:latin typeface="NotesEsa" panose="02000506030000020004" pitchFamily="2" charset="77"/>
          </a:defRPr>
        </a:defPPr>
      </a:lstStyle>
      <a:style>
        <a:lnRef idx="2">
          <a:schemeClr val="dk1">
            <a:shade val="15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09097DF0-382D-424A-9165-E801FB7EB7C7}" vid="{F1C9DDF4-71DE-46CA-8709-804BCB73C9E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9EC08E9F7CD342865B411A710BC065" ma:contentTypeVersion="15" ma:contentTypeDescription="Create a new document." ma:contentTypeScope="" ma:versionID="b117405edd07083063207c53854d144d">
  <xsd:schema xmlns:xsd="http://www.w3.org/2001/XMLSchema" xmlns:xs="http://www.w3.org/2001/XMLSchema" xmlns:p="http://schemas.microsoft.com/office/2006/metadata/properties" xmlns:ns1="http://schemas.microsoft.com/sharepoint/v3" xmlns:ns2="ca5a46d6-2fba-493f-8a2c-e598b9e9b7ab" targetNamespace="http://schemas.microsoft.com/office/2006/metadata/properties" ma:root="true" ma:fieldsID="d4c729e60623b514de6addb78a9c230e" ns1:_="" ns2:_="">
    <xsd:import namespace="http://schemas.microsoft.com/sharepoint/v3"/>
    <xsd:import namespace="ca5a46d6-2fba-493f-8a2c-e598b9e9b7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5a46d6-2fba-493f-8a2c-e598b9e9b7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8d343-e684-46db-b94f-a4cae8ed196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5a46d6-2fba-493f-8a2c-e598b9e9b7ab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48D79E0-F545-4A75-B39D-7B8AF1D9BA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E941A2-1402-4C6A-8F0C-0E7BF51B4604}">
  <ds:schemaRefs>
    <ds:schemaRef ds:uri="ca5a46d6-2fba-493f-8a2c-e598b9e9b7a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E22279E-2C4C-4C93-8498-455A58D1433E}">
  <ds:schemaRefs>
    <ds:schemaRef ds:uri="ca5a46d6-2fba-493f-8a2c-e598b9e9b7a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976fa30-1907-4356-8241-62ea5e1c0256}" enabled="1" method="Standard" siteId="{9a5cacd0-2bef-4dd7-ac5c-7ebe1f54f49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SA_Presentation_DARK</Template>
  <TotalTime>179</TotalTime>
  <Words>746</Words>
  <Application>Microsoft Macintosh PowerPoint</Application>
  <PresentationFormat>Custom</PresentationFormat>
  <Paragraphs>11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4" baseType="lpstr">
      <vt:lpstr>Arial</vt:lpstr>
      <vt:lpstr>Verdana</vt:lpstr>
      <vt:lpstr>Roboto</vt:lpstr>
      <vt:lpstr>Aptos</vt:lpstr>
      <vt:lpstr>Calibri</vt:lpstr>
      <vt:lpstr>Wingdings</vt:lpstr>
      <vt:lpstr>NotesEsa</vt:lpstr>
      <vt:lpstr>ESA_Presentation_DARK</vt:lpstr>
      <vt:lpstr>ESA_Presentation_CLEAR</vt:lpstr>
      <vt:lpstr>Benutzerdefiniertes Design</vt:lpstr>
      <vt:lpstr>ECG templates</vt:lpstr>
      <vt:lpstr>1_ESA_Presentation_CLEAR</vt:lpstr>
      <vt:lpstr>2_ESA_Presentation_DARK</vt:lpstr>
      <vt:lpstr>ESA_blue</vt:lpstr>
      <vt:lpstr>3_ESA_Presentation_DARK</vt:lpstr>
      <vt:lpstr>2_ESA_Presentation_CLEAR</vt:lpstr>
      <vt:lpstr>1_ESA_Presentation_DARK</vt:lpstr>
      <vt:lpstr>4_ESA_Presentation_DARK</vt:lpstr>
      <vt:lpstr>ESA50_Anniv_Cover_Master</vt:lpstr>
      <vt:lpstr>3_ESA_Presentation_CLEAR</vt:lpstr>
      <vt:lpstr>5_ESA_Presentation_DAR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ES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uropean Space Deep-Tech Innovation Centre ESDI: accelerating deep-tech</dc:title>
  <dc:subject>The European Space Deep-Tech Innovation Centre ESDI: accelerating deep-tech</dc:subject>
  <dc:creator>Jennifer Wadsworth (PSI), Johann Richard (ESA)</dc:creator>
  <cp:keywords/>
  <dc:description/>
  <cp:lastModifiedBy>Wadsworth, Jennifer Louise</cp:lastModifiedBy>
  <cp:revision>11</cp:revision>
  <cp:lastPrinted>2008-08-26T16:26:23Z</cp:lastPrinted>
  <dcterms:created xsi:type="dcterms:W3CDTF">2024-08-07T08:55:37Z</dcterms:created>
  <dcterms:modified xsi:type="dcterms:W3CDTF">2026-01-19T14:33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Title">
    <vt:lpwstr>TITLE OF PRESENTATION</vt:lpwstr>
  </property>
  <property fmtid="{D5CDD505-2E9C-101B-9397-08002B2CF9AE}" pid="3" name="PSubtitle">
    <vt:lpwstr>TITLE OF PRESENTATION</vt:lpwstr>
  </property>
  <property fmtid="{D5CDD505-2E9C-101B-9397-08002B2CF9AE}" pid="4" name="PAuthor">
    <vt:lpwstr>Jennifer Wadsworth (PSI), Johann Richard (ESA)</vt:lpwstr>
  </property>
  <property fmtid="{D5CDD505-2E9C-101B-9397-08002B2CF9AE}" pid="5" name="PPlace">
    <vt:lpwstr/>
  </property>
  <property fmtid="{D5CDD505-2E9C-101B-9397-08002B2CF9AE}" pid="6" name="PDate">
    <vt:lpwstr>DD/MM/YYYY</vt:lpwstr>
  </property>
  <property fmtid="{D5CDD505-2E9C-101B-9397-08002B2CF9AE}" pid="7" name="PProgramme">
    <vt:lpwstr/>
  </property>
  <property fmtid="{D5CDD505-2E9C-101B-9397-08002B2CF9AE}" pid="8" name="PEmail">
    <vt:lpwstr/>
  </property>
  <property fmtid="{D5CDD505-2E9C-101B-9397-08002B2CF9AE}" pid="9" name="PClassification">
    <vt:lpwstr>ESA UNCLASSIFIED – For Official Use</vt:lpwstr>
  </property>
  <property fmtid="{D5CDD505-2E9C-101B-9397-08002B2CF9AE}" pid="10" name="POptionButton1">
    <vt:bool>true</vt:bool>
  </property>
  <property fmtid="{D5CDD505-2E9C-101B-9397-08002B2CF9AE}" pid="11" name="POptionButton2">
    <vt:bool>false</vt:bool>
  </property>
  <property fmtid="{D5CDD505-2E9C-101B-9397-08002B2CF9AE}" pid="12" name="ESAVersion">
    <vt:lpwstr>5GV2.0</vt:lpwstr>
  </property>
  <property fmtid="{D5CDD505-2E9C-101B-9397-08002B2CF9AE}" pid="13" name="ShowESADialog1">
    <vt:bool>true</vt:bool>
  </property>
  <property fmtid="{D5CDD505-2E9C-101B-9397-08002B2CF9AE}" pid="14" name="ContentTypeId">
    <vt:lpwstr>0x010100809EC08E9F7CD342865B411A710BC065</vt:lpwstr>
  </property>
  <property fmtid="{D5CDD505-2E9C-101B-9397-08002B2CF9AE}" pid="15" name="Document Type">
    <vt:lpwstr>HO - Handout / Presentation</vt:lpwstr>
  </property>
  <property fmtid="{D5CDD505-2E9C-101B-9397-08002B2CF9AE}" pid="16" name="Reference">
    <vt:lpwstr/>
  </property>
  <property fmtid="{D5CDD505-2E9C-101B-9397-08002B2CF9AE}" pid="17" name="Classification">
    <vt:lpwstr>ESA UNCLASSIFIED – For ESA Official Use Only</vt:lpwstr>
  </property>
  <property fmtid="{D5CDD505-2E9C-101B-9397-08002B2CF9AE}" pid="18" name="Classification Caveat">
    <vt:lpwstr/>
  </property>
  <property fmtid="{D5CDD505-2E9C-101B-9397-08002B2CF9AE}" pid="19" name="Status">
    <vt:lpwstr>For Information Only</vt:lpwstr>
  </property>
  <property fmtid="{D5CDD505-2E9C-101B-9397-08002B2CF9AE}" pid="20" name="bmsSiteName">
    <vt:lpwstr/>
  </property>
  <property fmtid="{D5CDD505-2E9C-101B-9397-08002B2CF9AE}" pid="21" name="Originating Organisation">
    <vt:lpwstr>CIC-SE &amp; PSI</vt:lpwstr>
  </property>
  <property fmtid="{D5CDD505-2E9C-101B-9397-08002B2CF9AE}" pid="22" name="Distribution">
    <vt:lpwstr/>
  </property>
  <property fmtid="{D5CDD505-2E9C-101B-9397-08002B2CF9AE}" pid="23" name="bmsSitename2">
    <vt:lpwstr/>
  </property>
  <property fmtid="{D5CDD505-2E9C-101B-9397-08002B2CF9AE}" pid="24" name="bmsAddress">
    <vt:lpwstr/>
  </property>
  <property fmtid="{D5CDD505-2E9C-101B-9397-08002B2CF9AE}" pid="25" name="bmsPlace">
    <vt:lpwstr/>
  </property>
  <property fmtid="{D5CDD505-2E9C-101B-9397-08002B2CF9AE}" pid="26" name="bmsPhoneFax">
    <vt:lpwstr/>
  </property>
  <property fmtid="{D5CDD505-2E9C-101B-9397-08002B2CF9AE}" pid="27" name="Issue">
    <vt:i4>1</vt:i4>
  </property>
  <property fmtid="{D5CDD505-2E9C-101B-9397-08002B2CF9AE}" pid="28" name="Revision">
    <vt:i4>0</vt:i4>
  </property>
  <property fmtid="{D5CDD505-2E9C-101B-9397-08002B2CF9AE}" pid="29" name="Organisational_x0020_entity">
    <vt:lpwstr>CIC-SE &amp; PSI</vt:lpwstr>
  </property>
  <property fmtid="{D5CDD505-2E9C-101B-9397-08002B2CF9AE}" pid="30" name="_dlc_DocIdItemGuid">
    <vt:lpwstr>8efe0189-68e5-46b3-80c8-078d88a4045d</vt:lpwstr>
  </property>
  <property fmtid="{D5CDD505-2E9C-101B-9397-08002B2CF9AE}" pid="31" name="Organisational entity">
    <vt:lpwstr/>
  </property>
  <property fmtid="{D5CDD505-2E9C-101B-9397-08002B2CF9AE}" pid="32" name="IconOverlay">
    <vt:lpwstr/>
  </property>
  <property fmtid="{D5CDD505-2E9C-101B-9397-08002B2CF9AE}" pid="33" name="Document ID Value">
    <vt:lpwstr>PKKMWAM5UKCP-1108600927-1287</vt:lpwstr>
  </property>
  <property fmtid="{D5CDD505-2E9C-101B-9397-08002B2CF9AE}" pid="34" name="MSIP_Label_3976fa30-1907-4356-8241-62ea5e1c0256_Enabled">
    <vt:lpwstr>true</vt:lpwstr>
  </property>
  <property fmtid="{D5CDD505-2E9C-101B-9397-08002B2CF9AE}" pid="35" name="MSIP_Label_3976fa30-1907-4356-8241-62ea5e1c0256_SetDate">
    <vt:lpwstr>2020-09-30T12:03:24Z</vt:lpwstr>
  </property>
  <property fmtid="{D5CDD505-2E9C-101B-9397-08002B2CF9AE}" pid="36" name="MSIP_Label_3976fa30-1907-4356-8241-62ea5e1c0256_Method">
    <vt:lpwstr>Standard</vt:lpwstr>
  </property>
  <property fmtid="{D5CDD505-2E9C-101B-9397-08002B2CF9AE}" pid="37" name="MSIP_Label_3976fa30-1907-4356-8241-62ea5e1c0256_Name">
    <vt:lpwstr>ESA UNCLASSIFIED – For ESA Official Use Only</vt:lpwstr>
  </property>
  <property fmtid="{D5CDD505-2E9C-101B-9397-08002B2CF9AE}" pid="38" name="MSIP_Label_3976fa30-1907-4356-8241-62ea5e1c0256_SiteId">
    <vt:lpwstr>9a5cacd0-2bef-4dd7-ac5c-7ebe1f54f495</vt:lpwstr>
  </property>
  <property fmtid="{D5CDD505-2E9C-101B-9397-08002B2CF9AE}" pid="39" name="MSIP_Label_3976fa30-1907-4356-8241-62ea5e1c0256_ActionId">
    <vt:lpwstr>12cffb5a-e4fd-4993-a937-3b8906224a24</vt:lpwstr>
  </property>
  <property fmtid="{D5CDD505-2E9C-101B-9397-08002B2CF9AE}" pid="40" name="MSIP_Label_3976fa30-1907-4356-8241-62ea5e1c0256_ContentBits">
    <vt:lpwstr>0</vt:lpwstr>
  </property>
  <property fmtid="{D5CDD505-2E9C-101B-9397-08002B2CF9AE}" pid="41" name="Issue Date">
    <vt:filetime>2024-09-24T22:00:00Z</vt:filetime>
  </property>
  <property fmtid="{D5CDD505-2E9C-101B-9397-08002B2CF9AE}" pid="42" name="MediaServiceImageTags">
    <vt:lpwstr/>
  </property>
</Properties>
</file>